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00.xml" ContentType="application/vnd.openxmlformats-officedocument.themeOverride+xml"/>
  <Override PartName="/ppt/theme/themeOverride1000.xml" ContentType="application/vnd.openxmlformats-officedocument.themeOverride+xml"/>
  <Override PartName="/ppt/theme/themeOverride1001.xml" ContentType="application/vnd.openxmlformats-officedocument.themeOverride+xml"/>
  <Override PartName="/ppt/theme/themeOverride1002.xml" ContentType="application/vnd.openxmlformats-officedocument.themeOverride+xml"/>
  <Override PartName="/ppt/theme/themeOverride1003.xml" ContentType="application/vnd.openxmlformats-officedocument.themeOverride+xml"/>
  <Override PartName="/ppt/theme/themeOverride1004.xml" ContentType="application/vnd.openxmlformats-officedocument.themeOverride+xml"/>
  <Override PartName="/ppt/theme/themeOverride1005.xml" ContentType="application/vnd.openxmlformats-officedocument.themeOverride+xml"/>
  <Override PartName="/ppt/theme/themeOverride1006.xml" ContentType="application/vnd.openxmlformats-officedocument.themeOverride+xml"/>
  <Override PartName="/ppt/theme/themeOverride1007.xml" ContentType="application/vnd.openxmlformats-officedocument.themeOverride+xml"/>
  <Override PartName="/ppt/theme/themeOverride1008.xml" ContentType="application/vnd.openxmlformats-officedocument.themeOverride+xml"/>
  <Override PartName="/ppt/theme/themeOverride1009.xml" ContentType="application/vnd.openxmlformats-officedocument.themeOverride+xml"/>
  <Override PartName="/ppt/theme/themeOverride101.xml" ContentType="application/vnd.openxmlformats-officedocument.themeOverride+xml"/>
  <Override PartName="/ppt/theme/themeOverride1010.xml" ContentType="application/vnd.openxmlformats-officedocument.themeOverride+xml"/>
  <Override PartName="/ppt/theme/themeOverride1011.xml" ContentType="application/vnd.openxmlformats-officedocument.themeOverride+xml"/>
  <Override PartName="/ppt/theme/themeOverride1012.xml" ContentType="application/vnd.openxmlformats-officedocument.themeOverride+xml"/>
  <Override PartName="/ppt/theme/themeOverride1013.xml" ContentType="application/vnd.openxmlformats-officedocument.themeOverride+xml"/>
  <Override PartName="/ppt/theme/themeOverride1014.xml" ContentType="application/vnd.openxmlformats-officedocument.themeOverride+xml"/>
  <Override PartName="/ppt/theme/themeOverride1015.xml" ContentType="application/vnd.openxmlformats-officedocument.themeOverride+xml"/>
  <Override PartName="/ppt/theme/themeOverride1016.xml" ContentType="application/vnd.openxmlformats-officedocument.themeOverride+xml"/>
  <Override PartName="/ppt/theme/themeOverride1017.xml" ContentType="application/vnd.openxmlformats-officedocument.themeOverride+xml"/>
  <Override PartName="/ppt/theme/themeOverride1018.xml" ContentType="application/vnd.openxmlformats-officedocument.themeOverride+xml"/>
  <Override PartName="/ppt/theme/themeOverride1019.xml" ContentType="application/vnd.openxmlformats-officedocument.themeOverride+xml"/>
  <Override PartName="/ppt/theme/themeOverride102.xml" ContentType="application/vnd.openxmlformats-officedocument.themeOverride+xml"/>
  <Override PartName="/ppt/theme/themeOverride1020.xml" ContentType="application/vnd.openxmlformats-officedocument.themeOverride+xml"/>
  <Override PartName="/ppt/theme/themeOverride1021.xml" ContentType="application/vnd.openxmlformats-officedocument.themeOverride+xml"/>
  <Override PartName="/ppt/theme/themeOverride1022.xml" ContentType="application/vnd.openxmlformats-officedocument.themeOverride+xml"/>
  <Override PartName="/ppt/theme/themeOverride1023.xml" ContentType="application/vnd.openxmlformats-officedocument.themeOverride+xml"/>
  <Override PartName="/ppt/theme/themeOverride1024.xml" ContentType="application/vnd.openxmlformats-officedocument.themeOverride+xml"/>
  <Override PartName="/ppt/theme/themeOverride1025.xml" ContentType="application/vnd.openxmlformats-officedocument.themeOverride+xml"/>
  <Override PartName="/ppt/theme/themeOverride1026.xml" ContentType="application/vnd.openxmlformats-officedocument.themeOverride+xml"/>
  <Override PartName="/ppt/theme/themeOverride1027.xml" ContentType="application/vnd.openxmlformats-officedocument.themeOverride+xml"/>
  <Override PartName="/ppt/theme/themeOverride1028.xml" ContentType="application/vnd.openxmlformats-officedocument.themeOverride+xml"/>
  <Override PartName="/ppt/theme/themeOverride1029.xml" ContentType="application/vnd.openxmlformats-officedocument.themeOverride+xml"/>
  <Override PartName="/ppt/theme/themeOverride103.xml" ContentType="application/vnd.openxmlformats-officedocument.themeOverride+xml"/>
  <Override PartName="/ppt/theme/themeOverride1030.xml" ContentType="application/vnd.openxmlformats-officedocument.themeOverride+xml"/>
  <Override PartName="/ppt/theme/themeOverride1031.xml" ContentType="application/vnd.openxmlformats-officedocument.themeOverride+xml"/>
  <Override PartName="/ppt/theme/themeOverride1032.xml" ContentType="application/vnd.openxmlformats-officedocument.themeOverride+xml"/>
  <Override PartName="/ppt/theme/themeOverride1033.xml" ContentType="application/vnd.openxmlformats-officedocument.themeOverride+xml"/>
  <Override PartName="/ppt/theme/themeOverride1034.xml" ContentType="application/vnd.openxmlformats-officedocument.themeOverride+xml"/>
  <Override PartName="/ppt/theme/themeOverride1035.xml" ContentType="application/vnd.openxmlformats-officedocument.themeOverride+xml"/>
  <Override PartName="/ppt/theme/themeOverride1036.xml" ContentType="application/vnd.openxmlformats-officedocument.themeOverride+xml"/>
  <Override PartName="/ppt/theme/themeOverride1037.xml" ContentType="application/vnd.openxmlformats-officedocument.themeOverride+xml"/>
  <Override PartName="/ppt/theme/themeOverride1038.xml" ContentType="application/vnd.openxmlformats-officedocument.themeOverride+xml"/>
  <Override PartName="/ppt/theme/themeOverride1039.xml" ContentType="application/vnd.openxmlformats-officedocument.themeOverride+xml"/>
  <Override PartName="/ppt/theme/themeOverride104.xml" ContentType="application/vnd.openxmlformats-officedocument.themeOverride+xml"/>
  <Override PartName="/ppt/theme/themeOverride1040.xml" ContentType="application/vnd.openxmlformats-officedocument.themeOverride+xml"/>
  <Override PartName="/ppt/theme/themeOverride1041.xml" ContentType="application/vnd.openxmlformats-officedocument.themeOverride+xml"/>
  <Override PartName="/ppt/theme/themeOverride1042.xml" ContentType="application/vnd.openxmlformats-officedocument.themeOverride+xml"/>
  <Override PartName="/ppt/theme/themeOverride1043.xml" ContentType="application/vnd.openxmlformats-officedocument.themeOverride+xml"/>
  <Override PartName="/ppt/theme/themeOverride1044.xml" ContentType="application/vnd.openxmlformats-officedocument.themeOverride+xml"/>
  <Override PartName="/ppt/theme/themeOverride1045.xml" ContentType="application/vnd.openxmlformats-officedocument.themeOverride+xml"/>
  <Override PartName="/ppt/theme/themeOverride1046.xml" ContentType="application/vnd.openxmlformats-officedocument.themeOverride+xml"/>
  <Override PartName="/ppt/theme/themeOverride1047.xml" ContentType="application/vnd.openxmlformats-officedocument.themeOverride+xml"/>
  <Override PartName="/ppt/theme/themeOverride1048.xml" ContentType="application/vnd.openxmlformats-officedocument.themeOverride+xml"/>
  <Override PartName="/ppt/theme/themeOverride1049.xml" ContentType="application/vnd.openxmlformats-officedocument.themeOverride+xml"/>
  <Override PartName="/ppt/theme/themeOverride105.xml" ContentType="application/vnd.openxmlformats-officedocument.themeOverride+xml"/>
  <Override PartName="/ppt/theme/themeOverride1050.xml" ContentType="application/vnd.openxmlformats-officedocument.themeOverride+xml"/>
  <Override PartName="/ppt/theme/themeOverride1051.xml" ContentType="application/vnd.openxmlformats-officedocument.themeOverride+xml"/>
  <Override PartName="/ppt/theme/themeOverride1052.xml" ContentType="application/vnd.openxmlformats-officedocument.themeOverride+xml"/>
  <Override PartName="/ppt/theme/themeOverride1053.xml" ContentType="application/vnd.openxmlformats-officedocument.themeOverride+xml"/>
  <Override PartName="/ppt/theme/themeOverride1054.xml" ContentType="application/vnd.openxmlformats-officedocument.themeOverride+xml"/>
  <Override PartName="/ppt/theme/themeOverride1055.xml" ContentType="application/vnd.openxmlformats-officedocument.themeOverride+xml"/>
  <Override PartName="/ppt/theme/themeOverride1056.xml" ContentType="application/vnd.openxmlformats-officedocument.themeOverride+xml"/>
  <Override PartName="/ppt/theme/themeOverride1057.xml" ContentType="application/vnd.openxmlformats-officedocument.themeOverride+xml"/>
  <Override PartName="/ppt/theme/themeOverride1058.xml" ContentType="application/vnd.openxmlformats-officedocument.themeOverride+xml"/>
  <Override PartName="/ppt/theme/themeOverride1059.xml" ContentType="application/vnd.openxmlformats-officedocument.themeOverride+xml"/>
  <Override PartName="/ppt/theme/themeOverride106.xml" ContentType="application/vnd.openxmlformats-officedocument.themeOverride+xml"/>
  <Override PartName="/ppt/theme/themeOverride1060.xml" ContentType="application/vnd.openxmlformats-officedocument.themeOverride+xml"/>
  <Override PartName="/ppt/theme/themeOverride1061.xml" ContentType="application/vnd.openxmlformats-officedocument.themeOverride+xml"/>
  <Override PartName="/ppt/theme/themeOverride1062.xml" ContentType="application/vnd.openxmlformats-officedocument.themeOverride+xml"/>
  <Override PartName="/ppt/theme/themeOverride1063.xml" ContentType="application/vnd.openxmlformats-officedocument.themeOverride+xml"/>
  <Override PartName="/ppt/theme/themeOverride1064.xml" ContentType="application/vnd.openxmlformats-officedocument.themeOverride+xml"/>
  <Override PartName="/ppt/theme/themeOverride1065.xml" ContentType="application/vnd.openxmlformats-officedocument.themeOverride+xml"/>
  <Override PartName="/ppt/theme/themeOverride1066.xml" ContentType="application/vnd.openxmlformats-officedocument.themeOverride+xml"/>
  <Override PartName="/ppt/theme/themeOverride1067.xml" ContentType="application/vnd.openxmlformats-officedocument.themeOverride+xml"/>
  <Override PartName="/ppt/theme/themeOverride1068.xml" ContentType="application/vnd.openxmlformats-officedocument.themeOverride+xml"/>
  <Override PartName="/ppt/theme/themeOverride1069.xml" ContentType="application/vnd.openxmlformats-officedocument.themeOverride+xml"/>
  <Override PartName="/ppt/theme/themeOverride107.xml" ContentType="application/vnd.openxmlformats-officedocument.themeOverride+xml"/>
  <Override PartName="/ppt/theme/themeOverride1070.xml" ContentType="application/vnd.openxmlformats-officedocument.themeOverride+xml"/>
  <Override PartName="/ppt/theme/themeOverride1071.xml" ContentType="application/vnd.openxmlformats-officedocument.themeOverride+xml"/>
  <Override PartName="/ppt/theme/themeOverride1072.xml" ContentType="application/vnd.openxmlformats-officedocument.themeOverride+xml"/>
  <Override PartName="/ppt/theme/themeOverride1073.xml" ContentType="application/vnd.openxmlformats-officedocument.themeOverride+xml"/>
  <Override PartName="/ppt/theme/themeOverride1074.xml" ContentType="application/vnd.openxmlformats-officedocument.themeOverride+xml"/>
  <Override PartName="/ppt/theme/themeOverride1075.xml" ContentType="application/vnd.openxmlformats-officedocument.themeOverride+xml"/>
  <Override PartName="/ppt/theme/themeOverride1076.xml" ContentType="application/vnd.openxmlformats-officedocument.themeOverride+xml"/>
  <Override PartName="/ppt/theme/themeOverride1077.xml" ContentType="application/vnd.openxmlformats-officedocument.themeOverride+xml"/>
  <Override PartName="/ppt/theme/themeOverride1078.xml" ContentType="application/vnd.openxmlformats-officedocument.themeOverride+xml"/>
  <Override PartName="/ppt/theme/themeOverride1079.xml" ContentType="application/vnd.openxmlformats-officedocument.themeOverride+xml"/>
  <Override PartName="/ppt/theme/themeOverride108.xml" ContentType="application/vnd.openxmlformats-officedocument.themeOverride+xml"/>
  <Override PartName="/ppt/theme/themeOverride1080.xml" ContentType="application/vnd.openxmlformats-officedocument.themeOverride+xml"/>
  <Override PartName="/ppt/theme/themeOverride1081.xml" ContentType="application/vnd.openxmlformats-officedocument.themeOverride+xml"/>
  <Override PartName="/ppt/theme/themeOverride1082.xml" ContentType="application/vnd.openxmlformats-officedocument.themeOverride+xml"/>
  <Override PartName="/ppt/theme/themeOverride1083.xml" ContentType="application/vnd.openxmlformats-officedocument.themeOverride+xml"/>
  <Override PartName="/ppt/theme/themeOverride1084.xml" ContentType="application/vnd.openxmlformats-officedocument.themeOverride+xml"/>
  <Override PartName="/ppt/theme/themeOverride1085.xml" ContentType="application/vnd.openxmlformats-officedocument.themeOverride+xml"/>
  <Override PartName="/ppt/theme/themeOverride1086.xml" ContentType="application/vnd.openxmlformats-officedocument.themeOverride+xml"/>
  <Override PartName="/ppt/theme/themeOverride1087.xml" ContentType="application/vnd.openxmlformats-officedocument.themeOverride+xml"/>
  <Override PartName="/ppt/theme/themeOverride1088.xml" ContentType="application/vnd.openxmlformats-officedocument.themeOverride+xml"/>
  <Override PartName="/ppt/theme/themeOverride1089.xml" ContentType="application/vnd.openxmlformats-officedocument.themeOverride+xml"/>
  <Override PartName="/ppt/theme/themeOverride109.xml" ContentType="application/vnd.openxmlformats-officedocument.themeOverride+xml"/>
  <Override PartName="/ppt/theme/themeOverride1090.xml" ContentType="application/vnd.openxmlformats-officedocument.themeOverride+xml"/>
  <Override PartName="/ppt/theme/themeOverride1091.xml" ContentType="application/vnd.openxmlformats-officedocument.themeOverride+xml"/>
  <Override PartName="/ppt/theme/themeOverride1092.xml" ContentType="application/vnd.openxmlformats-officedocument.themeOverride+xml"/>
  <Override PartName="/ppt/theme/themeOverride1093.xml" ContentType="application/vnd.openxmlformats-officedocument.themeOverride+xml"/>
  <Override PartName="/ppt/theme/themeOverride1094.xml" ContentType="application/vnd.openxmlformats-officedocument.themeOverride+xml"/>
  <Override PartName="/ppt/theme/themeOverride1095.xml" ContentType="application/vnd.openxmlformats-officedocument.themeOverride+xml"/>
  <Override PartName="/ppt/theme/themeOverride1096.xml" ContentType="application/vnd.openxmlformats-officedocument.themeOverride+xml"/>
  <Override PartName="/ppt/theme/themeOverride1097.xml" ContentType="application/vnd.openxmlformats-officedocument.themeOverride+xml"/>
  <Override PartName="/ppt/theme/themeOverride1098.xml" ContentType="application/vnd.openxmlformats-officedocument.themeOverride+xml"/>
  <Override PartName="/ppt/theme/themeOverride1099.xml" ContentType="application/vnd.openxmlformats-officedocument.themeOverride+xml"/>
  <Override PartName="/ppt/theme/themeOverride11.xml" ContentType="application/vnd.openxmlformats-officedocument.themeOverride+xml"/>
  <Override PartName="/ppt/theme/themeOverride110.xml" ContentType="application/vnd.openxmlformats-officedocument.themeOverride+xml"/>
  <Override PartName="/ppt/theme/themeOverride1100.xml" ContentType="application/vnd.openxmlformats-officedocument.themeOverride+xml"/>
  <Override PartName="/ppt/theme/themeOverride1101.xml" ContentType="application/vnd.openxmlformats-officedocument.themeOverride+xml"/>
  <Override PartName="/ppt/theme/themeOverride1102.xml" ContentType="application/vnd.openxmlformats-officedocument.themeOverride+xml"/>
  <Override PartName="/ppt/theme/themeOverride1103.xml" ContentType="application/vnd.openxmlformats-officedocument.themeOverride+xml"/>
  <Override PartName="/ppt/theme/themeOverride1104.xml" ContentType="application/vnd.openxmlformats-officedocument.themeOverride+xml"/>
  <Override PartName="/ppt/theme/themeOverride1105.xml" ContentType="application/vnd.openxmlformats-officedocument.themeOverride+xml"/>
  <Override PartName="/ppt/theme/themeOverride1106.xml" ContentType="application/vnd.openxmlformats-officedocument.themeOverride+xml"/>
  <Override PartName="/ppt/theme/themeOverride1107.xml" ContentType="application/vnd.openxmlformats-officedocument.themeOverride+xml"/>
  <Override PartName="/ppt/theme/themeOverride1108.xml" ContentType="application/vnd.openxmlformats-officedocument.themeOverride+xml"/>
  <Override PartName="/ppt/theme/themeOverride1109.xml" ContentType="application/vnd.openxmlformats-officedocument.themeOverride+xml"/>
  <Override PartName="/ppt/theme/themeOverride111.xml" ContentType="application/vnd.openxmlformats-officedocument.themeOverride+xml"/>
  <Override PartName="/ppt/theme/themeOverride1110.xml" ContentType="application/vnd.openxmlformats-officedocument.themeOverride+xml"/>
  <Override PartName="/ppt/theme/themeOverride1111.xml" ContentType="application/vnd.openxmlformats-officedocument.themeOverride+xml"/>
  <Override PartName="/ppt/theme/themeOverride1112.xml" ContentType="application/vnd.openxmlformats-officedocument.themeOverride+xml"/>
  <Override PartName="/ppt/theme/themeOverride1113.xml" ContentType="application/vnd.openxmlformats-officedocument.themeOverride+xml"/>
  <Override PartName="/ppt/theme/themeOverride1114.xml" ContentType="application/vnd.openxmlformats-officedocument.themeOverride+xml"/>
  <Override PartName="/ppt/theme/themeOverride1115.xml" ContentType="application/vnd.openxmlformats-officedocument.themeOverride+xml"/>
  <Override PartName="/ppt/theme/themeOverride1116.xml" ContentType="application/vnd.openxmlformats-officedocument.themeOverride+xml"/>
  <Override PartName="/ppt/theme/themeOverride1117.xml" ContentType="application/vnd.openxmlformats-officedocument.themeOverride+xml"/>
  <Override PartName="/ppt/theme/themeOverride1118.xml" ContentType="application/vnd.openxmlformats-officedocument.themeOverride+xml"/>
  <Override PartName="/ppt/theme/themeOverride1119.xml" ContentType="application/vnd.openxmlformats-officedocument.themeOverride+xml"/>
  <Override PartName="/ppt/theme/themeOverride112.xml" ContentType="application/vnd.openxmlformats-officedocument.themeOverride+xml"/>
  <Override PartName="/ppt/theme/themeOverride1120.xml" ContentType="application/vnd.openxmlformats-officedocument.themeOverride+xml"/>
  <Override PartName="/ppt/theme/themeOverride1121.xml" ContentType="application/vnd.openxmlformats-officedocument.themeOverride+xml"/>
  <Override PartName="/ppt/theme/themeOverride1122.xml" ContentType="application/vnd.openxmlformats-officedocument.themeOverride+xml"/>
  <Override PartName="/ppt/theme/themeOverride1123.xml" ContentType="application/vnd.openxmlformats-officedocument.themeOverride+xml"/>
  <Override PartName="/ppt/theme/themeOverride1124.xml" ContentType="application/vnd.openxmlformats-officedocument.themeOverride+xml"/>
  <Override PartName="/ppt/theme/themeOverride1125.xml" ContentType="application/vnd.openxmlformats-officedocument.themeOverride+xml"/>
  <Override PartName="/ppt/theme/themeOverride1126.xml" ContentType="application/vnd.openxmlformats-officedocument.themeOverride+xml"/>
  <Override PartName="/ppt/theme/themeOverride1127.xml" ContentType="application/vnd.openxmlformats-officedocument.themeOverride+xml"/>
  <Override PartName="/ppt/theme/themeOverride1128.xml" ContentType="application/vnd.openxmlformats-officedocument.themeOverride+xml"/>
  <Override PartName="/ppt/theme/themeOverride1129.xml" ContentType="application/vnd.openxmlformats-officedocument.themeOverride+xml"/>
  <Override PartName="/ppt/theme/themeOverride113.xml" ContentType="application/vnd.openxmlformats-officedocument.themeOverride+xml"/>
  <Override PartName="/ppt/theme/themeOverride1130.xml" ContentType="application/vnd.openxmlformats-officedocument.themeOverride+xml"/>
  <Override PartName="/ppt/theme/themeOverride1131.xml" ContentType="application/vnd.openxmlformats-officedocument.themeOverride+xml"/>
  <Override PartName="/ppt/theme/themeOverride1132.xml" ContentType="application/vnd.openxmlformats-officedocument.themeOverride+xml"/>
  <Override PartName="/ppt/theme/themeOverride1133.xml" ContentType="application/vnd.openxmlformats-officedocument.themeOverride+xml"/>
  <Override PartName="/ppt/theme/themeOverride1134.xml" ContentType="application/vnd.openxmlformats-officedocument.themeOverride+xml"/>
  <Override PartName="/ppt/theme/themeOverride1135.xml" ContentType="application/vnd.openxmlformats-officedocument.themeOverride+xml"/>
  <Override PartName="/ppt/theme/themeOverride1136.xml" ContentType="application/vnd.openxmlformats-officedocument.themeOverride+xml"/>
  <Override PartName="/ppt/theme/themeOverride1137.xml" ContentType="application/vnd.openxmlformats-officedocument.themeOverride+xml"/>
  <Override PartName="/ppt/theme/themeOverride1138.xml" ContentType="application/vnd.openxmlformats-officedocument.themeOverride+xml"/>
  <Override PartName="/ppt/theme/themeOverride1139.xml" ContentType="application/vnd.openxmlformats-officedocument.themeOverride+xml"/>
  <Override PartName="/ppt/theme/themeOverride114.xml" ContentType="application/vnd.openxmlformats-officedocument.themeOverride+xml"/>
  <Override PartName="/ppt/theme/themeOverride1140.xml" ContentType="application/vnd.openxmlformats-officedocument.themeOverride+xml"/>
  <Override PartName="/ppt/theme/themeOverride1141.xml" ContentType="application/vnd.openxmlformats-officedocument.themeOverride+xml"/>
  <Override PartName="/ppt/theme/themeOverride1142.xml" ContentType="application/vnd.openxmlformats-officedocument.themeOverride+xml"/>
  <Override PartName="/ppt/theme/themeOverride1143.xml" ContentType="application/vnd.openxmlformats-officedocument.themeOverride+xml"/>
  <Override PartName="/ppt/theme/themeOverride1144.xml" ContentType="application/vnd.openxmlformats-officedocument.themeOverride+xml"/>
  <Override PartName="/ppt/theme/themeOverride1145.xml" ContentType="application/vnd.openxmlformats-officedocument.themeOverride+xml"/>
  <Override PartName="/ppt/theme/themeOverride1146.xml" ContentType="application/vnd.openxmlformats-officedocument.themeOverride+xml"/>
  <Override PartName="/ppt/theme/themeOverride1147.xml" ContentType="application/vnd.openxmlformats-officedocument.themeOverride+xml"/>
  <Override PartName="/ppt/theme/themeOverride1148.xml" ContentType="application/vnd.openxmlformats-officedocument.themeOverride+xml"/>
  <Override PartName="/ppt/theme/themeOverride1149.xml" ContentType="application/vnd.openxmlformats-officedocument.themeOverride+xml"/>
  <Override PartName="/ppt/theme/themeOverride115.xml" ContentType="application/vnd.openxmlformats-officedocument.themeOverride+xml"/>
  <Override PartName="/ppt/theme/themeOverride1150.xml" ContentType="application/vnd.openxmlformats-officedocument.themeOverride+xml"/>
  <Override PartName="/ppt/theme/themeOverride1151.xml" ContentType="application/vnd.openxmlformats-officedocument.themeOverride+xml"/>
  <Override PartName="/ppt/theme/themeOverride1152.xml" ContentType="application/vnd.openxmlformats-officedocument.themeOverride+xml"/>
  <Override PartName="/ppt/theme/themeOverride1153.xml" ContentType="application/vnd.openxmlformats-officedocument.themeOverride+xml"/>
  <Override PartName="/ppt/theme/themeOverride1154.xml" ContentType="application/vnd.openxmlformats-officedocument.themeOverride+xml"/>
  <Override PartName="/ppt/theme/themeOverride1155.xml" ContentType="application/vnd.openxmlformats-officedocument.themeOverride+xml"/>
  <Override PartName="/ppt/theme/themeOverride1156.xml" ContentType="application/vnd.openxmlformats-officedocument.themeOverride+xml"/>
  <Override PartName="/ppt/theme/themeOverride1157.xml" ContentType="application/vnd.openxmlformats-officedocument.themeOverride+xml"/>
  <Override PartName="/ppt/theme/themeOverride1158.xml" ContentType="application/vnd.openxmlformats-officedocument.themeOverride+xml"/>
  <Override PartName="/ppt/theme/themeOverride1159.xml" ContentType="application/vnd.openxmlformats-officedocument.themeOverride+xml"/>
  <Override PartName="/ppt/theme/themeOverride116.xml" ContentType="application/vnd.openxmlformats-officedocument.themeOverride+xml"/>
  <Override PartName="/ppt/theme/themeOverride1160.xml" ContentType="application/vnd.openxmlformats-officedocument.themeOverride+xml"/>
  <Override PartName="/ppt/theme/themeOverride1161.xml" ContentType="application/vnd.openxmlformats-officedocument.themeOverride+xml"/>
  <Override PartName="/ppt/theme/themeOverride1162.xml" ContentType="application/vnd.openxmlformats-officedocument.themeOverride+xml"/>
  <Override PartName="/ppt/theme/themeOverride1163.xml" ContentType="application/vnd.openxmlformats-officedocument.themeOverride+xml"/>
  <Override PartName="/ppt/theme/themeOverride1164.xml" ContentType="application/vnd.openxmlformats-officedocument.themeOverride+xml"/>
  <Override PartName="/ppt/theme/themeOverride1165.xml" ContentType="application/vnd.openxmlformats-officedocument.themeOverride+xml"/>
  <Override PartName="/ppt/theme/themeOverride1166.xml" ContentType="application/vnd.openxmlformats-officedocument.themeOverride+xml"/>
  <Override PartName="/ppt/theme/themeOverride1167.xml" ContentType="application/vnd.openxmlformats-officedocument.themeOverride+xml"/>
  <Override PartName="/ppt/theme/themeOverride1168.xml" ContentType="application/vnd.openxmlformats-officedocument.themeOverride+xml"/>
  <Override PartName="/ppt/theme/themeOverride1169.xml" ContentType="application/vnd.openxmlformats-officedocument.themeOverride+xml"/>
  <Override PartName="/ppt/theme/themeOverride117.xml" ContentType="application/vnd.openxmlformats-officedocument.themeOverride+xml"/>
  <Override PartName="/ppt/theme/themeOverride1170.xml" ContentType="application/vnd.openxmlformats-officedocument.themeOverride+xml"/>
  <Override PartName="/ppt/theme/themeOverride1171.xml" ContentType="application/vnd.openxmlformats-officedocument.themeOverride+xml"/>
  <Override PartName="/ppt/theme/themeOverride1172.xml" ContentType="application/vnd.openxmlformats-officedocument.themeOverride+xml"/>
  <Override PartName="/ppt/theme/themeOverride1173.xml" ContentType="application/vnd.openxmlformats-officedocument.themeOverride+xml"/>
  <Override PartName="/ppt/theme/themeOverride1174.xml" ContentType="application/vnd.openxmlformats-officedocument.themeOverride+xml"/>
  <Override PartName="/ppt/theme/themeOverride1175.xml" ContentType="application/vnd.openxmlformats-officedocument.themeOverride+xml"/>
  <Override PartName="/ppt/theme/themeOverride1176.xml" ContentType="application/vnd.openxmlformats-officedocument.themeOverride+xml"/>
  <Override PartName="/ppt/theme/themeOverride1177.xml" ContentType="application/vnd.openxmlformats-officedocument.themeOverride+xml"/>
  <Override PartName="/ppt/theme/themeOverride1178.xml" ContentType="application/vnd.openxmlformats-officedocument.themeOverride+xml"/>
  <Override PartName="/ppt/theme/themeOverride1179.xml" ContentType="application/vnd.openxmlformats-officedocument.themeOverride+xml"/>
  <Override PartName="/ppt/theme/themeOverride118.xml" ContentType="application/vnd.openxmlformats-officedocument.themeOverride+xml"/>
  <Override PartName="/ppt/theme/themeOverride1180.xml" ContentType="application/vnd.openxmlformats-officedocument.themeOverride+xml"/>
  <Override PartName="/ppt/theme/themeOverride1181.xml" ContentType="application/vnd.openxmlformats-officedocument.themeOverride+xml"/>
  <Override PartName="/ppt/theme/themeOverride1182.xml" ContentType="application/vnd.openxmlformats-officedocument.themeOverride+xml"/>
  <Override PartName="/ppt/theme/themeOverride1183.xml" ContentType="application/vnd.openxmlformats-officedocument.themeOverride+xml"/>
  <Override PartName="/ppt/theme/themeOverride1184.xml" ContentType="application/vnd.openxmlformats-officedocument.themeOverride+xml"/>
  <Override PartName="/ppt/theme/themeOverride1185.xml" ContentType="application/vnd.openxmlformats-officedocument.themeOverride+xml"/>
  <Override PartName="/ppt/theme/themeOverride1186.xml" ContentType="application/vnd.openxmlformats-officedocument.themeOverride+xml"/>
  <Override PartName="/ppt/theme/themeOverride1187.xml" ContentType="application/vnd.openxmlformats-officedocument.themeOverride+xml"/>
  <Override PartName="/ppt/theme/themeOverride1188.xml" ContentType="application/vnd.openxmlformats-officedocument.themeOverride+xml"/>
  <Override PartName="/ppt/theme/themeOverride1189.xml" ContentType="application/vnd.openxmlformats-officedocument.themeOverride+xml"/>
  <Override PartName="/ppt/theme/themeOverride119.xml" ContentType="application/vnd.openxmlformats-officedocument.themeOverride+xml"/>
  <Override PartName="/ppt/theme/themeOverride1190.xml" ContentType="application/vnd.openxmlformats-officedocument.themeOverride+xml"/>
  <Override PartName="/ppt/theme/themeOverride1191.xml" ContentType="application/vnd.openxmlformats-officedocument.themeOverride+xml"/>
  <Override PartName="/ppt/theme/themeOverride1192.xml" ContentType="application/vnd.openxmlformats-officedocument.themeOverride+xml"/>
  <Override PartName="/ppt/theme/themeOverride1193.xml" ContentType="application/vnd.openxmlformats-officedocument.themeOverride+xml"/>
  <Override PartName="/ppt/theme/themeOverride1194.xml" ContentType="application/vnd.openxmlformats-officedocument.themeOverride+xml"/>
  <Override PartName="/ppt/theme/themeOverride1195.xml" ContentType="application/vnd.openxmlformats-officedocument.themeOverride+xml"/>
  <Override PartName="/ppt/theme/themeOverride1196.xml" ContentType="application/vnd.openxmlformats-officedocument.themeOverride+xml"/>
  <Override PartName="/ppt/theme/themeOverride1197.xml" ContentType="application/vnd.openxmlformats-officedocument.themeOverride+xml"/>
  <Override PartName="/ppt/theme/themeOverride1198.xml" ContentType="application/vnd.openxmlformats-officedocument.themeOverride+xml"/>
  <Override PartName="/ppt/theme/themeOverride1199.xml" ContentType="application/vnd.openxmlformats-officedocument.themeOverride+xml"/>
  <Override PartName="/ppt/theme/themeOverride12.xml" ContentType="application/vnd.openxmlformats-officedocument.themeOverride+xml"/>
  <Override PartName="/ppt/theme/themeOverride120.xml" ContentType="application/vnd.openxmlformats-officedocument.themeOverride+xml"/>
  <Override PartName="/ppt/theme/themeOverride1200.xml" ContentType="application/vnd.openxmlformats-officedocument.themeOverride+xml"/>
  <Override PartName="/ppt/theme/themeOverride1201.xml" ContentType="application/vnd.openxmlformats-officedocument.themeOverride+xml"/>
  <Override PartName="/ppt/theme/themeOverride1202.xml" ContentType="application/vnd.openxmlformats-officedocument.themeOverride+xml"/>
  <Override PartName="/ppt/theme/themeOverride1203.xml" ContentType="application/vnd.openxmlformats-officedocument.themeOverride+xml"/>
  <Override PartName="/ppt/theme/themeOverride1204.xml" ContentType="application/vnd.openxmlformats-officedocument.themeOverride+xml"/>
  <Override PartName="/ppt/theme/themeOverride1205.xml" ContentType="application/vnd.openxmlformats-officedocument.themeOverride+xml"/>
  <Override PartName="/ppt/theme/themeOverride1206.xml" ContentType="application/vnd.openxmlformats-officedocument.themeOverride+xml"/>
  <Override PartName="/ppt/theme/themeOverride1207.xml" ContentType="application/vnd.openxmlformats-officedocument.themeOverride+xml"/>
  <Override PartName="/ppt/theme/themeOverride1208.xml" ContentType="application/vnd.openxmlformats-officedocument.themeOverride+xml"/>
  <Override PartName="/ppt/theme/themeOverride1209.xml" ContentType="application/vnd.openxmlformats-officedocument.themeOverride+xml"/>
  <Override PartName="/ppt/theme/themeOverride121.xml" ContentType="application/vnd.openxmlformats-officedocument.themeOverride+xml"/>
  <Override PartName="/ppt/theme/themeOverride1210.xml" ContentType="application/vnd.openxmlformats-officedocument.themeOverride+xml"/>
  <Override PartName="/ppt/theme/themeOverride1211.xml" ContentType="application/vnd.openxmlformats-officedocument.themeOverride+xml"/>
  <Override PartName="/ppt/theme/themeOverride1212.xml" ContentType="application/vnd.openxmlformats-officedocument.themeOverride+xml"/>
  <Override PartName="/ppt/theme/themeOverride1213.xml" ContentType="application/vnd.openxmlformats-officedocument.themeOverride+xml"/>
  <Override PartName="/ppt/theme/themeOverride1214.xml" ContentType="application/vnd.openxmlformats-officedocument.themeOverride+xml"/>
  <Override PartName="/ppt/theme/themeOverride1215.xml" ContentType="application/vnd.openxmlformats-officedocument.themeOverride+xml"/>
  <Override PartName="/ppt/theme/themeOverride1216.xml" ContentType="application/vnd.openxmlformats-officedocument.themeOverride+xml"/>
  <Override PartName="/ppt/theme/themeOverride1217.xml" ContentType="application/vnd.openxmlformats-officedocument.themeOverride+xml"/>
  <Override PartName="/ppt/theme/themeOverride1218.xml" ContentType="application/vnd.openxmlformats-officedocument.themeOverride+xml"/>
  <Override PartName="/ppt/theme/themeOverride1219.xml" ContentType="application/vnd.openxmlformats-officedocument.themeOverride+xml"/>
  <Override PartName="/ppt/theme/themeOverride122.xml" ContentType="application/vnd.openxmlformats-officedocument.themeOverride+xml"/>
  <Override PartName="/ppt/theme/themeOverride1220.xml" ContentType="application/vnd.openxmlformats-officedocument.themeOverride+xml"/>
  <Override PartName="/ppt/theme/themeOverride1221.xml" ContentType="application/vnd.openxmlformats-officedocument.themeOverride+xml"/>
  <Override PartName="/ppt/theme/themeOverride1222.xml" ContentType="application/vnd.openxmlformats-officedocument.themeOverride+xml"/>
  <Override PartName="/ppt/theme/themeOverride1223.xml" ContentType="application/vnd.openxmlformats-officedocument.themeOverride+xml"/>
  <Override PartName="/ppt/theme/themeOverride1224.xml" ContentType="application/vnd.openxmlformats-officedocument.themeOverride+xml"/>
  <Override PartName="/ppt/theme/themeOverride1225.xml" ContentType="application/vnd.openxmlformats-officedocument.themeOverride+xml"/>
  <Override PartName="/ppt/theme/themeOverride1226.xml" ContentType="application/vnd.openxmlformats-officedocument.themeOverride+xml"/>
  <Override PartName="/ppt/theme/themeOverride1227.xml" ContentType="application/vnd.openxmlformats-officedocument.themeOverride+xml"/>
  <Override PartName="/ppt/theme/themeOverride1228.xml" ContentType="application/vnd.openxmlformats-officedocument.themeOverride+xml"/>
  <Override PartName="/ppt/theme/themeOverride1229.xml" ContentType="application/vnd.openxmlformats-officedocument.themeOverride+xml"/>
  <Override PartName="/ppt/theme/themeOverride123.xml" ContentType="application/vnd.openxmlformats-officedocument.themeOverride+xml"/>
  <Override PartName="/ppt/theme/themeOverride1230.xml" ContentType="application/vnd.openxmlformats-officedocument.themeOverride+xml"/>
  <Override PartName="/ppt/theme/themeOverride1231.xml" ContentType="application/vnd.openxmlformats-officedocument.themeOverride+xml"/>
  <Override PartName="/ppt/theme/themeOverride1232.xml" ContentType="application/vnd.openxmlformats-officedocument.themeOverride+xml"/>
  <Override PartName="/ppt/theme/themeOverride1233.xml" ContentType="application/vnd.openxmlformats-officedocument.themeOverride+xml"/>
  <Override PartName="/ppt/theme/themeOverride1234.xml" ContentType="application/vnd.openxmlformats-officedocument.themeOverride+xml"/>
  <Override PartName="/ppt/theme/themeOverride1235.xml" ContentType="application/vnd.openxmlformats-officedocument.themeOverride+xml"/>
  <Override PartName="/ppt/theme/themeOverride1236.xml" ContentType="application/vnd.openxmlformats-officedocument.themeOverride+xml"/>
  <Override PartName="/ppt/theme/themeOverride1237.xml" ContentType="application/vnd.openxmlformats-officedocument.themeOverride+xml"/>
  <Override PartName="/ppt/theme/themeOverride1238.xml" ContentType="application/vnd.openxmlformats-officedocument.themeOverride+xml"/>
  <Override PartName="/ppt/theme/themeOverride1239.xml" ContentType="application/vnd.openxmlformats-officedocument.themeOverride+xml"/>
  <Override PartName="/ppt/theme/themeOverride124.xml" ContentType="application/vnd.openxmlformats-officedocument.themeOverride+xml"/>
  <Override PartName="/ppt/theme/themeOverride1240.xml" ContentType="application/vnd.openxmlformats-officedocument.themeOverride+xml"/>
  <Override PartName="/ppt/theme/themeOverride1241.xml" ContentType="application/vnd.openxmlformats-officedocument.themeOverride+xml"/>
  <Override PartName="/ppt/theme/themeOverride1242.xml" ContentType="application/vnd.openxmlformats-officedocument.themeOverride+xml"/>
  <Override PartName="/ppt/theme/themeOverride1243.xml" ContentType="application/vnd.openxmlformats-officedocument.themeOverride+xml"/>
  <Override PartName="/ppt/theme/themeOverride1244.xml" ContentType="application/vnd.openxmlformats-officedocument.themeOverride+xml"/>
  <Override PartName="/ppt/theme/themeOverride1245.xml" ContentType="application/vnd.openxmlformats-officedocument.themeOverride+xml"/>
  <Override PartName="/ppt/theme/themeOverride1246.xml" ContentType="application/vnd.openxmlformats-officedocument.themeOverride+xml"/>
  <Override PartName="/ppt/theme/themeOverride1247.xml" ContentType="application/vnd.openxmlformats-officedocument.themeOverride+xml"/>
  <Override PartName="/ppt/theme/themeOverride1248.xml" ContentType="application/vnd.openxmlformats-officedocument.themeOverride+xml"/>
  <Override PartName="/ppt/theme/themeOverride1249.xml" ContentType="application/vnd.openxmlformats-officedocument.themeOverride+xml"/>
  <Override PartName="/ppt/theme/themeOverride125.xml" ContentType="application/vnd.openxmlformats-officedocument.themeOverride+xml"/>
  <Override PartName="/ppt/theme/themeOverride1250.xml" ContentType="application/vnd.openxmlformats-officedocument.themeOverride+xml"/>
  <Override PartName="/ppt/theme/themeOverride1251.xml" ContentType="application/vnd.openxmlformats-officedocument.themeOverride+xml"/>
  <Override PartName="/ppt/theme/themeOverride1252.xml" ContentType="application/vnd.openxmlformats-officedocument.themeOverride+xml"/>
  <Override PartName="/ppt/theme/themeOverride1253.xml" ContentType="application/vnd.openxmlformats-officedocument.themeOverride+xml"/>
  <Override PartName="/ppt/theme/themeOverride1254.xml" ContentType="application/vnd.openxmlformats-officedocument.themeOverride+xml"/>
  <Override PartName="/ppt/theme/themeOverride1255.xml" ContentType="application/vnd.openxmlformats-officedocument.themeOverride+xml"/>
  <Override PartName="/ppt/theme/themeOverride1256.xml" ContentType="application/vnd.openxmlformats-officedocument.themeOverride+xml"/>
  <Override PartName="/ppt/theme/themeOverride1257.xml" ContentType="application/vnd.openxmlformats-officedocument.themeOverride+xml"/>
  <Override PartName="/ppt/theme/themeOverride1258.xml" ContentType="application/vnd.openxmlformats-officedocument.themeOverride+xml"/>
  <Override PartName="/ppt/theme/themeOverride1259.xml" ContentType="application/vnd.openxmlformats-officedocument.themeOverride+xml"/>
  <Override PartName="/ppt/theme/themeOverride126.xml" ContentType="application/vnd.openxmlformats-officedocument.themeOverride+xml"/>
  <Override PartName="/ppt/theme/themeOverride1260.xml" ContentType="application/vnd.openxmlformats-officedocument.themeOverride+xml"/>
  <Override PartName="/ppt/theme/themeOverride1261.xml" ContentType="application/vnd.openxmlformats-officedocument.themeOverride+xml"/>
  <Override PartName="/ppt/theme/themeOverride1262.xml" ContentType="application/vnd.openxmlformats-officedocument.themeOverride+xml"/>
  <Override PartName="/ppt/theme/themeOverride1263.xml" ContentType="application/vnd.openxmlformats-officedocument.themeOverride+xml"/>
  <Override PartName="/ppt/theme/themeOverride1264.xml" ContentType="application/vnd.openxmlformats-officedocument.themeOverride+xml"/>
  <Override PartName="/ppt/theme/themeOverride1265.xml" ContentType="application/vnd.openxmlformats-officedocument.themeOverride+xml"/>
  <Override PartName="/ppt/theme/themeOverride1266.xml" ContentType="application/vnd.openxmlformats-officedocument.themeOverride+xml"/>
  <Override PartName="/ppt/theme/themeOverride1267.xml" ContentType="application/vnd.openxmlformats-officedocument.themeOverride+xml"/>
  <Override PartName="/ppt/theme/themeOverride1268.xml" ContentType="application/vnd.openxmlformats-officedocument.themeOverride+xml"/>
  <Override PartName="/ppt/theme/themeOverride1269.xml" ContentType="application/vnd.openxmlformats-officedocument.themeOverride+xml"/>
  <Override PartName="/ppt/theme/themeOverride127.xml" ContentType="application/vnd.openxmlformats-officedocument.themeOverride+xml"/>
  <Override PartName="/ppt/theme/themeOverride1270.xml" ContentType="application/vnd.openxmlformats-officedocument.themeOverride+xml"/>
  <Override PartName="/ppt/theme/themeOverride1271.xml" ContentType="application/vnd.openxmlformats-officedocument.themeOverride+xml"/>
  <Override PartName="/ppt/theme/themeOverride1272.xml" ContentType="application/vnd.openxmlformats-officedocument.themeOverride+xml"/>
  <Override PartName="/ppt/theme/themeOverride1273.xml" ContentType="application/vnd.openxmlformats-officedocument.themeOverride+xml"/>
  <Override PartName="/ppt/theme/themeOverride1274.xml" ContentType="application/vnd.openxmlformats-officedocument.themeOverride+xml"/>
  <Override PartName="/ppt/theme/themeOverride1275.xml" ContentType="application/vnd.openxmlformats-officedocument.themeOverride+xml"/>
  <Override PartName="/ppt/theme/themeOverride1276.xml" ContentType="application/vnd.openxmlformats-officedocument.themeOverride+xml"/>
  <Override PartName="/ppt/theme/themeOverride1277.xml" ContentType="application/vnd.openxmlformats-officedocument.themeOverride+xml"/>
  <Override PartName="/ppt/theme/themeOverride1278.xml" ContentType="application/vnd.openxmlformats-officedocument.themeOverride+xml"/>
  <Override PartName="/ppt/theme/themeOverride1279.xml" ContentType="application/vnd.openxmlformats-officedocument.themeOverride+xml"/>
  <Override PartName="/ppt/theme/themeOverride128.xml" ContentType="application/vnd.openxmlformats-officedocument.themeOverride+xml"/>
  <Override PartName="/ppt/theme/themeOverride1280.xml" ContentType="application/vnd.openxmlformats-officedocument.themeOverride+xml"/>
  <Override PartName="/ppt/theme/themeOverride1281.xml" ContentType="application/vnd.openxmlformats-officedocument.themeOverride+xml"/>
  <Override PartName="/ppt/theme/themeOverride1282.xml" ContentType="application/vnd.openxmlformats-officedocument.themeOverride+xml"/>
  <Override PartName="/ppt/theme/themeOverride1283.xml" ContentType="application/vnd.openxmlformats-officedocument.themeOverride+xml"/>
  <Override PartName="/ppt/theme/themeOverride1284.xml" ContentType="application/vnd.openxmlformats-officedocument.themeOverride+xml"/>
  <Override PartName="/ppt/theme/themeOverride1285.xml" ContentType="application/vnd.openxmlformats-officedocument.themeOverride+xml"/>
  <Override PartName="/ppt/theme/themeOverride1286.xml" ContentType="application/vnd.openxmlformats-officedocument.themeOverride+xml"/>
  <Override PartName="/ppt/theme/themeOverride1287.xml" ContentType="application/vnd.openxmlformats-officedocument.themeOverride+xml"/>
  <Override PartName="/ppt/theme/themeOverride1288.xml" ContentType="application/vnd.openxmlformats-officedocument.themeOverride+xml"/>
  <Override PartName="/ppt/theme/themeOverride1289.xml" ContentType="application/vnd.openxmlformats-officedocument.themeOverride+xml"/>
  <Override PartName="/ppt/theme/themeOverride129.xml" ContentType="application/vnd.openxmlformats-officedocument.themeOverride+xml"/>
  <Override PartName="/ppt/theme/themeOverride1290.xml" ContentType="application/vnd.openxmlformats-officedocument.themeOverride+xml"/>
  <Override PartName="/ppt/theme/themeOverride1291.xml" ContentType="application/vnd.openxmlformats-officedocument.themeOverride+xml"/>
  <Override PartName="/ppt/theme/themeOverride1292.xml" ContentType="application/vnd.openxmlformats-officedocument.themeOverride+xml"/>
  <Override PartName="/ppt/theme/themeOverride1293.xml" ContentType="application/vnd.openxmlformats-officedocument.themeOverride+xml"/>
  <Override PartName="/ppt/theme/themeOverride1294.xml" ContentType="application/vnd.openxmlformats-officedocument.themeOverride+xml"/>
  <Override PartName="/ppt/theme/themeOverride1295.xml" ContentType="application/vnd.openxmlformats-officedocument.themeOverride+xml"/>
  <Override PartName="/ppt/theme/themeOverride1296.xml" ContentType="application/vnd.openxmlformats-officedocument.themeOverride+xml"/>
  <Override PartName="/ppt/theme/themeOverride1297.xml" ContentType="application/vnd.openxmlformats-officedocument.themeOverride+xml"/>
  <Override PartName="/ppt/theme/themeOverride1298.xml" ContentType="application/vnd.openxmlformats-officedocument.themeOverride+xml"/>
  <Override PartName="/ppt/theme/themeOverride1299.xml" ContentType="application/vnd.openxmlformats-officedocument.themeOverride+xml"/>
  <Override PartName="/ppt/theme/themeOverride13.xml" ContentType="application/vnd.openxmlformats-officedocument.themeOverride+xml"/>
  <Override PartName="/ppt/theme/themeOverride130.xml" ContentType="application/vnd.openxmlformats-officedocument.themeOverride+xml"/>
  <Override PartName="/ppt/theme/themeOverride1300.xml" ContentType="application/vnd.openxmlformats-officedocument.themeOverride+xml"/>
  <Override PartName="/ppt/theme/themeOverride1301.xml" ContentType="application/vnd.openxmlformats-officedocument.themeOverride+xml"/>
  <Override PartName="/ppt/theme/themeOverride1302.xml" ContentType="application/vnd.openxmlformats-officedocument.themeOverride+xml"/>
  <Override PartName="/ppt/theme/themeOverride1303.xml" ContentType="application/vnd.openxmlformats-officedocument.themeOverride+xml"/>
  <Override PartName="/ppt/theme/themeOverride1304.xml" ContentType="application/vnd.openxmlformats-officedocument.themeOverride+xml"/>
  <Override PartName="/ppt/theme/themeOverride1305.xml" ContentType="application/vnd.openxmlformats-officedocument.themeOverride+xml"/>
  <Override PartName="/ppt/theme/themeOverride1306.xml" ContentType="application/vnd.openxmlformats-officedocument.themeOverride+xml"/>
  <Override PartName="/ppt/theme/themeOverride1307.xml" ContentType="application/vnd.openxmlformats-officedocument.themeOverride+xml"/>
  <Override PartName="/ppt/theme/themeOverride1308.xml" ContentType="application/vnd.openxmlformats-officedocument.themeOverride+xml"/>
  <Override PartName="/ppt/theme/themeOverride1309.xml" ContentType="application/vnd.openxmlformats-officedocument.themeOverride+xml"/>
  <Override PartName="/ppt/theme/themeOverride131.xml" ContentType="application/vnd.openxmlformats-officedocument.themeOverride+xml"/>
  <Override PartName="/ppt/theme/themeOverride1310.xml" ContentType="application/vnd.openxmlformats-officedocument.themeOverride+xml"/>
  <Override PartName="/ppt/theme/themeOverride1311.xml" ContentType="application/vnd.openxmlformats-officedocument.themeOverride+xml"/>
  <Override PartName="/ppt/theme/themeOverride1312.xml" ContentType="application/vnd.openxmlformats-officedocument.themeOverride+xml"/>
  <Override PartName="/ppt/theme/themeOverride1313.xml" ContentType="application/vnd.openxmlformats-officedocument.themeOverride+xml"/>
  <Override PartName="/ppt/theme/themeOverride1314.xml" ContentType="application/vnd.openxmlformats-officedocument.themeOverride+xml"/>
  <Override PartName="/ppt/theme/themeOverride1315.xml" ContentType="application/vnd.openxmlformats-officedocument.themeOverride+xml"/>
  <Override PartName="/ppt/theme/themeOverride1316.xml" ContentType="application/vnd.openxmlformats-officedocument.themeOverride+xml"/>
  <Override PartName="/ppt/theme/themeOverride1317.xml" ContentType="application/vnd.openxmlformats-officedocument.themeOverride+xml"/>
  <Override PartName="/ppt/theme/themeOverride1318.xml" ContentType="application/vnd.openxmlformats-officedocument.themeOverride+xml"/>
  <Override PartName="/ppt/theme/themeOverride1319.xml" ContentType="application/vnd.openxmlformats-officedocument.themeOverride+xml"/>
  <Override PartName="/ppt/theme/themeOverride132.xml" ContentType="application/vnd.openxmlformats-officedocument.themeOverride+xml"/>
  <Override PartName="/ppt/theme/themeOverride1320.xml" ContentType="application/vnd.openxmlformats-officedocument.themeOverride+xml"/>
  <Override PartName="/ppt/theme/themeOverride1321.xml" ContentType="application/vnd.openxmlformats-officedocument.themeOverride+xml"/>
  <Override PartName="/ppt/theme/themeOverride1322.xml" ContentType="application/vnd.openxmlformats-officedocument.themeOverride+xml"/>
  <Override PartName="/ppt/theme/themeOverride1323.xml" ContentType="application/vnd.openxmlformats-officedocument.themeOverride+xml"/>
  <Override PartName="/ppt/theme/themeOverride1324.xml" ContentType="application/vnd.openxmlformats-officedocument.themeOverride+xml"/>
  <Override PartName="/ppt/theme/themeOverride1325.xml" ContentType="application/vnd.openxmlformats-officedocument.themeOverride+xml"/>
  <Override PartName="/ppt/theme/themeOverride1326.xml" ContentType="application/vnd.openxmlformats-officedocument.themeOverride+xml"/>
  <Override PartName="/ppt/theme/themeOverride1327.xml" ContentType="application/vnd.openxmlformats-officedocument.themeOverride+xml"/>
  <Override PartName="/ppt/theme/themeOverride1328.xml" ContentType="application/vnd.openxmlformats-officedocument.themeOverride+xml"/>
  <Override PartName="/ppt/theme/themeOverride1329.xml" ContentType="application/vnd.openxmlformats-officedocument.themeOverride+xml"/>
  <Override PartName="/ppt/theme/themeOverride133.xml" ContentType="application/vnd.openxmlformats-officedocument.themeOverride+xml"/>
  <Override PartName="/ppt/theme/themeOverride1330.xml" ContentType="application/vnd.openxmlformats-officedocument.themeOverride+xml"/>
  <Override PartName="/ppt/theme/themeOverride1331.xml" ContentType="application/vnd.openxmlformats-officedocument.themeOverride+xml"/>
  <Override PartName="/ppt/theme/themeOverride1332.xml" ContentType="application/vnd.openxmlformats-officedocument.themeOverride+xml"/>
  <Override PartName="/ppt/theme/themeOverride1333.xml" ContentType="application/vnd.openxmlformats-officedocument.themeOverride+xml"/>
  <Override PartName="/ppt/theme/themeOverride1334.xml" ContentType="application/vnd.openxmlformats-officedocument.themeOverride+xml"/>
  <Override PartName="/ppt/theme/themeOverride1335.xml" ContentType="application/vnd.openxmlformats-officedocument.themeOverride+xml"/>
  <Override PartName="/ppt/theme/themeOverride1336.xml" ContentType="application/vnd.openxmlformats-officedocument.themeOverride+xml"/>
  <Override PartName="/ppt/theme/themeOverride1337.xml" ContentType="application/vnd.openxmlformats-officedocument.themeOverride+xml"/>
  <Override PartName="/ppt/theme/themeOverride1338.xml" ContentType="application/vnd.openxmlformats-officedocument.themeOverride+xml"/>
  <Override PartName="/ppt/theme/themeOverride1339.xml" ContentType="application/vnd.openxmlformats-officedocument.themeOverride+xml"/>
  <Override PartName="/ppt/theme/themeOverride134.xml" ContentType="application/vnd.openxmlformats-officedocument.themeOverride+xml"/>
  <Override PartName="/ppt/theme/themeOverride1340.xml" ContentType="application/vnd.openxmlformats-officedocument.themeOverride+xml"/>
  <Override PartName="/ppt/theme/themeOverride1341.xml" ContentType="application/vnd.openxmlformats-officedocument.themeOverride+xml"/>
  <Override PartName="/ppt/theme/themeOverride1342.xml" ContentType="application/vnd.openxmlformats-officedocument.themeOverride+xml"/>
  <Override PartName="/ppt/theme/themeOverride1343.xml" ContentType="application/vnd.openxmlformats-officedocument.themeOverride+xml"/>
  <Override PartName="/ppt/theme/themeOverride1344.xml" ContentType="application/vnd.openxmlformats-officedocument.themeOverride+xml"/>
  <Override PartName="/ppt/theme/themeOverride1345.xml" ContentType="application/vnd.openxmlformats-officedocument.themeOverride+xml"/>
  <Override PartName="/ppt/theme/themeOverride1346.xml" ContentType="application/vnd.openxmlformats-officedocument.themeOverride+xml"/>
  <Override PartName="/ppt/theme/themeOverride1347.xml" ContentType="application/vnd.openxmlformats-officedocument.themeOverride+xml"/>
  <Override PartName="/ppt/theme/themeOverride1348.xml" ContentType="application/vnd.openxmlformats-officedocument.themeOverride+xml"/>
  <Override PartName="/ppt/theme/themeOverride1349.xml" ContentType="application/vnd.openxmlformats-officedocument.themeOverride+xml"/>
  <Override PartName="/ppt/theme/themeOverride135.xml" ContentType="application/vnd.openxmlformats-officedocument.themeOverride+xml"/>
  <Override PartName="/ppt/theme/themeOverride1350.xml" ContentType="application/vnd.openxmlformats-officedocument.themeOverride+xml"/>
  <Override PartName="/ppt/theme/themeOverride1351.xml" ContentType="application/vnd.openxmlformats-officedocument.themeOverride+xml"/>
  <Override PartName="/ppt/theme/themeOverride1352.xml" ContentType="application/vnd.openxmlformats-officedocument.themeOverride+xml"/>
  <Override PartName="/ppt/theme/themeOverride1353.xml" ContentType="application/vnd.openxmlformats-officedocument.themeOverride+xml"/>
  <Override PartName="/ppt/theme/themeOverride1354.xml" ContentType="application/vnd.openxmlformats-officedocument.themeOverride+xml"/>
  <Override PartName="/ppt/theme/themeOverride1355.xml" ContentType="application/vnd.openxmlformats-officedocument.themeOverride+xml"/>
  <Override PartName="/ppt/theme/themeOverride1356.xml" ContentType="application/vnd.openxmlformats-officedocument.themeOverride+xml"/>
  <Override PartName="/ppt/theme/themeOverride1357.xml" ContentType="application/vnd.openxmlformats-officedocument.themeOverride+xml"/>
  <Override PartName="/ppt/theme/themeOverride1358.xml" ContentType="application/vnd.openxmlformats-officedocument.themeOverride+xml"/>
  <Override PartName="/ppt/theme/themeOverride1359.xml" ContentType="application/vnd.openxmlformats-officedocument.themeOverride+xml"/>
  <Override PartName="/ppt/theme/themeOverride136.xml" ContentType="application/vnd.openxmlformats-officedocument.themeOverride+xml"/>
  <Override PartName="/ppt/theme/themeOverride1360.xml" ContentType="application/vnd.openxmlformats-officedocument.themeOverride+xml"/>
  <Override PartName="/ppt/theme/themeOverride1361.xml" ContentType="application/vnd.openxmlformats-officedocument.themeOverride+xml"/>
  <Override PartName="/ppt/theme/themeOverride1362.xml" ContentType="application/vnd.openxmlformats-officedocument.themeOverride+xml"/>
  <Override PartName="/ppt/theme/themeOverride1363.xml" ContentType="application/vnd.openxmlformats-officedocument.themeOverride+xml"/>
  <Override PartName="/ppt/theme/themeOverride1364.xml" ContentType="application/vnd.openxmlformats-officedocument.themeOverride+xml"/>
  <Override PartName="/ppt/theme/themeOverride1365.xml" ContentType="application/vnd.openxmlformats-officedocument.themeOverride+xml"/>
  <Override PartName="/ppt/theme/themeOverride1366.xml" ContentType="application/vnd.openxmlformats-officedocument.themeOverride+xml"/>
  <Override PartName="/ppt/theme/themeOverride1367.xml" ContentType="application/vnd.openxmlformats-officedocument.themeOverride+xml"/>
  <Override PartName="/ppt/theme/themeOverride1368.xml" ContentType="application/vnd.openxmlformats-officedocument.themeOverride+xml"/>
  <Override PartName="/ppt/theme/themeOverride1369.xml" ContentType="application/vnd.openxmlformats-officedocument.themeOverride+xml"/>
  <Override PartName="/ppt/theme/themeOverride137.xml" ContentType="application/vnd.openxmlformats-officedocument.themeOverride+xml"/>
  <Override PartName="/ppt/theme/themeOverride1370.xml" ContentType="application/vnd.openxmlformats-officedocument.themeOverride+xml"/>
  <Override PartName="/ppt/theme/themeOverride1371.xml" ContentType="application/vnd.openxmlformats-officedocument.themeOverride+xml"/>
  <Override PartName="/ppt/theme/themeOverride1372.xml" ContentType="application/vnd.openxmlformats-officedocument.themeOverride+xml"/>
  <Override PartName="/ppt/theme/themeOverride1373.xml" ContentType="application/vnd.openxmlformats-officedocument.themeOverride+xml"/>
  <Override PartName="/ppt/theme/themeOverride1374.xml" ContentType="application/vnd.openxmlformats-officedocument.themeOverride+xml"/>
  <Override PartName="/ppt/theme/themeOverride1375.xml" ContentType="application/vnd.openxmlformats-officedocument.themeOverride+xml"/>
  <Override PartName="/ppt/theme/themeOverride1376.xml" ContentType="application/vnd.openxmlformats-officedocument.themeOverride+xml"/>
  <Override PartName="/ppt/theme/themeOverride1377.xml" ContentType="application/vnd.openxmlformats-officedocument.themeOverride+xml"/>
  <Override PartName="/ppt/theme/themeOverride1378.xml" ContentType="application/vnd.openxmlformats-officedocument.themeOverride+xml"/>
  <Override PartName="/ppt/theme/themeOverride1379.xml" ContentType="application/vnd.openxmlformats-officedocument.themeOverride+xml"/>
  <Override PartName="/ppt/theme/themeOverride138.xml" ContentType="application/vnd.openxmlformats-officedocument.themeOverride+xml"/>
  <Override PartName="/ppt/theme/themeOverride1380.xml" ContentType="application/vnd.openxmlformats-officedocument.themeOverride+xml"/>
  <Override PartName="/ppt/theme/themeOverride1381.xml" ContentType="application/vnd.openxmlformats-officedocument.themeOverride+xml"/>
  <Override PartName="/ppt/theme/themeOverride1382.xml" ContentType="application/vnd.openxmlformats-officedocument.themeOverride+xml"/>
  <Override PartName="/ppt/theme/themeOverride1383.xml" ContentType="application/vnd.openxmlformats-officedocument.themeOverride+xml"/>
  <Override PartName="/ppt/theme/themeOverride1384.xml" ContentType="application/vnd.openxmlformats-officedocument.themeOverride+xml"/>
  <Override PartName="/ppt/theme/themeOverride1385.xml" ContentType="application/vnd.openxmlformats-officedocument.themeOverride+xml"/>
  <Override PartName="/ppt/theme/themeOverride1386.xml" ContentType="application/vnd.openxmlformats-officedocument.themeOverride+xml"/>
  <Override PartName="/ppt/theme/themeOverride1387.xml" ContentType="application/vnd.openxmlformats-officedocument.themeOverride+xml"/>
  <Override PartName="/ppt/theme/themeOverride1388.xml" ContentType="application/vnd.openxmlformats-officedocument.themeOverride+xml"/>
  <Override PartName="/ppt/theme/themeOverride1389.xml" ContentType="application/vnd.openxmlformats-officedocument.themeOverride+xml"/>
  <Override PartName="/ppt/theme/themeOverride139.xml" ContentType="application/vnd.openxmlformats-officedocument.themeOverride+xml"/>
  <Override PartName="/ppt/theme/themeOverride1390.xml" ContentType="application/vnd.openxmlformats-officedocument.themeOverride+xml"/>
  <Override PartName="/ppt/theme/themeOverride1391.xml" ContentType="application/vnd.openxmlformats-officedocument.themeOverride+xml"/>
  <Override PartName="/ppt/theme/themeOverride1392.xml" ContentType="application/vnd.openxmlformats-officedocument.themeOverride+xml"/>
  <Override PartName="/ppt/theme/themeOverride1393.xml" ContentType="application/vnd.openxmlformats-officedocument.themeOverride+xml"/>
  <Override PartName="/ppt/theme/themeOverride1394.xml" ContentType="application/vnd.openxmlformats-officedocument.themeOverride+xml"/>
  <Override PartName="/ppt/theme/themeOverride1395.xml" ContentType="application/vnd.openxmlformats-officedocument.themeOverride+xml"/>
  <Override PartName="/ppt/theme/themeOverride1396.xml" ContentType="application/vnd.openxmlformats-officedocument.themeOverride+xml"/>
  <Override PartName="/ppt/theme/themeOverride1397.xml" ContentType="application/vnd.openxmlformats-officedocument.themeOverride+xml"/>
  <Override PartName="/ppt/theme/themeOverride1398.xml" ContentType="application/vnd.openxmlformats-officedocument.themeOverride+xml"/>
  <Override PartName="/ppt/theme/themeOverride1399.xml" ContentType="application/vnd.openxmlformats-officedocument.themeOverride+xml"/>
  <Override PartName="/ppt/theme/themeOverride14.xml" ContentType="application/vnd.openxmlformats-officedocument.themeOverride+xml"/>
  <Override PartName="/ppt/theme/themeOverride140.xml" ContentType="application/vnd.openxmlformats-officedocument.themeOverride+xml"/>
  <Override PartName="/ppt/theme/themeOverride1400.xml" ContentType="application/vnd.openxmlformats-officedocument.themeOverride+xml"/>
  <Override PartName="/ppt/theme/themeOverride1401.xml" ContentType="application/vnd.openxmlformats-officedocument.themeOverride+xml"/>
  <Override PartName="/ppt/theme/themeOverride1402.xml" ContentType="application/vnd.openxmlformats-officedocument.themeOverride+xml"/>
  <Override PartName="/ppt/theme/themeOverride1403.xml" ContentType="application/vnd.openxmlformats-officedocument.themeOverride+xml"/>
  <Override PartName="/ppt/theme/themeOverride1404.xml" ContentType="application/vnd.openxmlformats-officedocument.themeOverride+xml"/>
  <Override PartName="/ppt/theme/themeOverride1405.xml" ContentType="application/vnd.openxmlformats-officedocument.themeOverride+xml"/>
  <Override PartName="/ppt/theme/themeOverride1406.xml" ContentType="application/vnd.openxmlformats-officedocument.themeOverride+xml"/>
  <Override PartName="/ppt/theme/themeOverride1407.xml" ContentType="application/vnd.openxmlformats-officedocument.themeOverride+xml"/>
  <Override PartName="/ppt/theme/themeOverride1408.xml" ContentType="application/vnd.openxmlformats-officedocument.themeOverride+xml"/>
  <Override PartName="/ppt/theme/themeOverride1409.xml" ContentType="application/vnd.openxmlformats-officedocument.themeOverride+xml"/>
  <Override PartName="/ppt/theme/themeOverride141.xml" ContentType="application/vnd.openxmlformats-officedocument.themeOverride+xml"/>
  <Override PartName="/ppt/theme/themeOverride1410.xml" ContentType="application/vnd.openxmlformats-officedocument.themeOverride+xml"/>
  <Override PartName="/ppt/theme/themeOverride1411.xml" ContentType="application/vnd.openxmlformats-officedocument.themeOverride+xml"/>
  <Override PartName="/ppt/theme/themeOverride1412.xml" ContentType="application/vnd.openxmlformats-officedocument.themeOverride+xml"/>
  <Override PartName="/ppt/theme/themeOverride1413.xml" ContentType="application/vnd.openxmlformats-officedocument.themeOverride+xml"/>
  <Override PartName="/ppt/theme/themeOverride1414.xml" ContentType="application/vnd.openxmlformats-officedocument.themeOverride+xml"/>
  <Override PartName="/ppt/theme/themeOverride1415.xml" ContentType="application/vnd.openxmlformats-officedocument.themeOverride+xml"/>
  <Override PartName="/ppt/theme/themeOverride1416.xml" ContentType="application/vnd.openxmlformats-officedocument.themeOverride+xml"/>
  <Override PartName="/ppt/theme/themeOverride1417.xml" ContentType="application/vnd.openxmlformats-officedocument.themeOverride+xml"/>
  <Override PartName="/ppt/theme/themeOverride1418.xml" ContentType="application/vnd.openxmlformats-officedocument.themeOverride+xml"/>
  <Override PartName="/ppt/theme/themeOverride1419.xml" ContentType="application/vnd.openxmlformats-officedocument.themeOverride+xml"/>
  <Override PartName="/ppt/theme/themeOverride142.xml" ContentType="application/vnd.openxmlformats-officedocument.themeOverride+xml"/>
  <Override PartName="/ppt/theme/themeOverride1420.xml" ContentType="application/vnd.openxmlformats-officedocument.themeOverride+xml"/>
  <Override PartName="/ppt/theme/themeOverride1421.xml" ContentType="application/vnd.openxmlformats-officedocument.themeOverride+xml"/>
  <Override PartName="/ppt/theme/themeOverride1422.xml" ContentType="application/vnd.openxmlformats-officedocument.themeOverride+xml"/>
  <Override PartName="/ppt/theme/themeOverride1423.xml" ContentType="application/vnd.openxmlformats-officedocument.themeOverride+xml"/>
  <Override PartName="/ppt/theme/themeOverride1424.xml" ContentType="application/vnd.openxmlformats-officedocument.themeOverride+xml"/>
  <Override PartName="/ppt/theme/themeOverride1425.xml" ContentType="application/vnd.openxmlformats-officedocument.themeOverride+xml"/>
  <Override PartName="/ppt/theme/themeOverride1426.xml" ContentType="application/vnd.openxmlformats-officedocument.themeOverride+xml"/>
  <Override PartName="/ppt/theme/themeOverride1427.xml" ContentType="application/vnd.openxmlformats-officedocument.themeOverride+xml"/>
  <Override PartName="/ppt/theme/themeOverride1428.xml" ContentType="application/vnd.openxmlformats-officedocument.themeOverride+xml"/>
  <Override PartName="/ppt/theme/themeOverride1429.xml" ContentType="application/vnd.openxmlformats-officedocument.themeOverride+xml"/>
  <Override PartName="/ppt/theme/themeOverride143.xml" ContentType="application/vnd.openxmlformats-officedocument.themeOverride+xml"/>
  <Override PartName="/ppt/theme/themeOverride1430.xml" ContentType="application/vnd.openxmlformats-officedocument.themeOverride+xml"/>
  <Override PartName="/ppt/theme/themeOverride1431.xml" ContentType="application/vnd.openxmlformats-officedocument.themeOverride+xml"/>
  <Override PartName="/ppt/theme/themeOverride1432.xml" ContentType="application/vnd.openxmlformats-officedocument.themeOverride+xml"/>
  <Override PartName="/ppt/theme/themeOverride1433.xml" ContentType="application/vnd.openxmlformats-officedocument.themeOverride+xml"/>
  <Override PartName="/ppt/theme/themeOverride1434.xml" ContentType="application/vnd.openxmlformats-officedocument.themeOverride+xml"/>
  <Override PartName="/ppt/theme/themeOverride1435.xml" ContentType="application/vnd.openxmlformats-officedocument.themeOverride+xml"/>
  <Override PartName="/ppt/theme/themeOverride1436.xml" ContentType="application/vnd.openxmlformats-officedocument.themeOverride+xml"/>
  <Override PartName="/ppt/theme/themeOverride1437.xml" ContentType="application/vnd.openxmlformats-officedocument.themeOverride+xml"/>
  <Override PartName="/ppt/theme/themeOverride1438.xml" ContentType="application/vnd.openxmlformats-officedocument.themeOverride+xml"/>
  <Override PartName="/ppt/theme/themeOverride1439.xml" ContentType="application/vnd.openxmlformats-officedocument.themeOverride+xml"/>
  <Override PartName="/ppt/theme/themeOverride144.xml" ContentType="application/vnd.openxmlformats-officedocument.themeOverride+xml"/>
  <Override PartName="/ppt/theme/themeOverride1440.xml" ContentType="application/vnd.openxmlformats-officedocument.themeOverride+xml"/>
  <Override PartName="/ppt/theme/themeOverride1441.xml" ContentType="application/vnd.openxmlformats-officedocument.themeOverride+xml"/>
  <Override PartName="/ppt/theme/themeOverride1442.xml" ContentType="application/vnd.openxmlformats-officedocument.themeOverride+xml"/>
  <Override PartName="/ppt/theme/themeOverride1443.xml" ContentType="application/vnd.openxmlformats-officedocument.themeOverride+xml"/>
  <Override PartName="/ppt/theme/themeOverride1444.xml" ContentType="application/vnd.openxmlformats-officedocument.themeOverride+xml"/>
  <Override PartName="/ppt/theme/themeOverride1445.xml" ContentType="application/vnd.openxmlformats-officedocument.themeOverride+xml"/>
  <Override PartName="/ppt/theme/themeOverride1446.xml" ContentType="application/vnd.openxmlformats-officedocument.themeOverride+xml"/>
  <Override PartName="/ppt/theme/themeOverride1447.xml" ContentType="application/vnd.openxmlformats-officedocument.themeOverride+xml"/>
  <Override PartName="/ppt/theme/themeOverride1448.xml" ContentType="application/vnd.openxmlformats-officedocument.themeOverride+xml"/>
  <Override PartName="/ppt/theme/themeOverride1449.xml" ContentType="application/vnd.openxmlformats-officedocument.themeOverride+xml"/>
  <Override PartName="/ppt/theme/themeOverride145.xml" ContentType="application/vnd.openxmlformats-officedocument.themeOverride+xml"/>
  <Override PartName="/ppt/theme/themeOverride1450.xml" ContentType="application/vnd.openxmlformats-officedocument.themeOverride+xml"/>
  <Override PartName="/ppt/theme/themeOverride1451.xml" ContentType="application/vnd.openxmlformats-officedocument.themeOverride+xml"/>
  <Override PartName="/ppt/theme/themeOverride1452.xml" ContentType="application/vnd.openxmlformats-officedocument.themeOverride+xml"/>
  <Override PartName="/ppt/theme/themeOverride1453.xml" ContentType="application/vnd.openxmlformats-officedocument.themeOverride+xml"/>
  <Override PartName="/ppt/theme/themeOverride1454.xml" ContentType="application/vnd.openxmlformats-officedocument.themeOverride+xml"/>
  <Override PartName="/ppt/theme/themeOverride1455.xml" ContentType="application/vnd.openxmlformats-officedocument.themeOverride+xml"/>
  <Override PartName="/ppt/theme/themeOverride1456.xml" ContentType="application/vnd.openxmlformats-officedocument.themeOverride+xml"/>
  <Override PartName="/ppt/theme/themeOverride1457.xml" ContentType="application/vnd.openxmlformats-officedocument.themeOverride+xml"/>
  <Override PartName="/ppt/theme/themeOverride1458.xml" ContentType="application/vnd.openxmlformats-officedocument.themeOverride+xml"/>
  <Override PartName="/ppt/theme/themeOverride1459.xml" ContentType="application/vnd.openxmlformats-officedocument.themeOverride+xml"/>
  <Override PartName="/ppt/theme/themeOverride146.xml" ContentType="application/vnd.openxmlformats-officedocument.themeOverride+xml"/>
  <Override PartName="/ppt/theme/themeOverride1460.xml" ContentType="application/vnd.openxmlformats-officedocument.themeOverride+xml"/>
  <Override PartName="/ppt/theme/themeOverride1461.xml" ContentType="application/vnd.openxmlformats-officedocument.themeOverride+xml"/>
  <Override PartName="/ppt/theme/themeOverride1462.xml" ContentType="application/vnd.openxmlformats-officedocument.themeOverride+xml"/>
  <Override PartName="/ppt/theme/themeOverride1463.xml" ContentType="application/vnd.openxmlformats-officedocument.themeOverride+xml"/>
  <Override PartName="/ppt/theme/themeOverride1464.xml" ContentType="application/vnd.openxmlformats-officedocument.themeOverride+xml"/>
  <Override PartName="/ppt/theme/themeOverride1465.xml" ContentType="application/vnd.openxmlformats-officedocument.themeOverride+xml"/>
  <Override PartName="/ppt/theme/themeOverride1466.xml" ContentType="application/vnd.openxmlformats-officedocument.themeOverride+xml"/>
  <Override PartName="/ppt/theme/themeOverride1467.xml" ContentType="application/vnd.openxmlformats-officedocument.themeOverride+xml"/>
  <Override PartName="/ppt/theme/themeOverride1468.xml" ContentType="application/vnd.openxmlformats-officedocument.themeOverride+xml"/>
  <Override PartName="/ppt/theme/themeOverride1469.xml" ContentType="application/vnd.openxmlformats-officedocument.themeOverride+xml"/>
  <Override PartName="/ppt/theme/themeOverride147.xml" ContentType="application/vnd.openxmlformats-officedocument.themeOverride+xml"/>
  <Override PartName="/ppt/theme/themeOverride1470.xml" ContentType="application/vnd.openxmlformats-officedocument.themeOverride+xml"/>
  <Override PartName="/ppt/theme/themeOverride1471.xml" ContentType="application/vnd.openxmlformats-officedocument.themeOverride+xml"/>
  <Override PartName="/ppt/theme/themeOverride1472.xml" ContentType="application/vnd.openxmlformats-officedocument.themeOverride+xml"/>
  <Override PartName="/ppt/theme/themeOverride1473.xml" ContentType="application/vnd.openxmlformats-officedocument.themeOverride+xml"/>
  <Override PartName="/ppt/theme/themeOverride1474.xml" ContentType="application/vnd.openxmlformats-officedocument.themeOverride+xml"/>
  <Override PartName="/ppt/theme/themeOverride1475.xml" ContentType="application/vnd.openxmlformats-officedocument.themeOverride+xml"/>
  <Override PartName="/ppt/theme/themeOverride1476.xml" ContentType="application/vnd.openxmlformats-officedocument.themeOverride+xml"/>
  <Override PartName="/ppt/theme/themeOverride1477.xml" ContentType="application/vnd.openxmlformats-officedocument.themeOverride+xml"/>
  <Override PartName="/ppt/theme/themeOverride1478.xml" ContentType="application/vnd.openxmlformats-officedocument.themeOverride+xml"/>
  <Override PartName="/ppt/theme/themeOverride1479.xml" ContentType="application/vnd.openxmlformats-officedocument.themeOverride+xml"/>
  <Override PartName="/ppt/theme/themeOverride148.xml" ContentType="application/vnd.openxmlformats-officedocument.themeOverride+xml"/>
  <Override PartName="/ppt/theme/themeOverride1480.xml" ContentType="application/vnd.openxmlformats-officedocument.themeOverride+xml"/>
  <Override PartName="/ppt/theme/themeOverride1481.xml" ContentType="application/vnd.openxmlformats-officedocument.themeOverride+xml"/>
  <Override PartName="/ppt/theme/themeOverride1482.xml" ContentType="application/vnd.openxmlformats-officedocument.themeOverride+xml"/>
  <Override PartName="/ppt/theme/themeOverride1483.xml" ContentType="application/vnd.openxmlformats-officedocument.themeOverride+xml"/>
  <Override PartName="/ppt/theme/themeOverride1484.xml" ContentType="application/vnd.openxmlformats-officedocument.themeOverride+xml"/>
  <Override PartName="/ppt/theme/themeOverride1485.xml" ContentType="application/vnd.openxmlformats-officedocument.themeOverride+xml"/>
  <Override PartName="/ppt/theme/themeOverride1486.xml" ContentType="application/vnd.openxmlformats-officedocument.themeOverride+xml"/>
  <Override PartName="/ppt/theme/themeOverride1487.xml" ContentType="application/vnd.openxmlformats-officedocument.themeOverride+xml"/>
  <Override PartName="/ppt/theme/themeOverride1488.xml" ContentType="application/vnd.openxmlformats-officedocument.themeOverride+xml"/>
  <Override PartName="/ppt/theme/themeOverride1489.xml" ContentType="application/vnd.openxmlformats-officedocument.themeOverride+xml"/>
  <Override PartName="/ppt/theme/themeOverride149.xml" ContentType="application/vnd.openxmlformats-officedocument.themeOverride+xml"/>
  <Override PartName="/ppt/theme/themeOverride1490.xml" ContentType="application/vnd.openxmlformats-officedocument.themeOverride+xml"/>
  <Override PartName="/ppt/theme/themeOverride1491.xml" ContentType="application/vnd.openxmlformats-officedocument.themeOverride+xml"/>
  <Override PartName="/ppt/theme/themeOverride1492.xml" ContentType="application/vnd.openxmlformats-officedocument.themeOverride+xml"/>
  <Override PartName="/ppt/theme/themeOverride1493.xml" ContentType="application/vnd.openxmlformats-officedocument.themeOverride+xml"/>
  <Override PartName="/ppt/theme/themeOverride1494.xml" ContentType="application/vnd.openxmlformats-officedocument.themeOverride+xml"/>
  <Override PartName="/ppt/theme/themeOverride1495.xml" ContentType="application/vnd.openxmlformats-officedocument.themeOverride+xml"/>
  <Override PartName="/ppt/theme/themeOverride1496.xml" ContentType="application/vnd.openxmlformats-officedocument.themeOverride+xml"/>
  <Override PartName="/ppt/theme/themeOverride1497.xml" ContentType="application/vnd.openxmlformats-officedocument.themeOverride+xml"/>
  <Override PartName="/ppt/theme/themeOverride1498.xml" ContentType="application/vnd.openxmlformats-officedocument.themeOverride+xml"/>
  <Override PartName="/ppt/theme/themeOverride1499.xml" ContentType="application/vnd.openxmlformats-officedocument.themeOverride+xml"/>
  <Override PartName="/ppt/theme/themeOverride15.xml" ContentType="application/vnd.openxmlformats-officedocument.themeOverride+xml"/>
  <Override PartName="/ppt/theme/themeOverride150.xml" ContentType="application/vnd.openxmlformats-officedocument.themeOverride+xml"/>
  <Override PartName="/ppt/theme/themeOverride1500.xml" ContentType="application/vnd.openxmlformats-officedocument.themeOverride+xml"/>
  <Override PartName="/ppt/theme/themeOverride1501.xml" ContentType="application/vnd.openxmlformats-officedocument.themeOverride+xml"/>
  <Override PartName="/ppt/theme/themeOverride1502.xml" ContentType="application/vnd.openxmlformats-officedocument.themeOverride+xml"/>
  <Override PartName="/ppt/theme/themeOverride1503.xml" ContentType="application/vnd.openxmlformats-officedocument.themeOverride+xml"/>
  <Override PartName="/ppt/theme/themeOverride1504.xml" ContentType="application/vnd.openxmlformats-officedocument.themeOverride+xml"/>
  <Override PartName="/ppt/theme/themeOverride1505.xml" ContentType="application/vnd.openxmlformats-officedocument.themeOverride+xml"/>
  <Override PartName="/ppt/theme/themeOverride1506.xml" ContentType="application/vnd.openxmlformats-officedocument.themeOverride+xml"/>
  <Override PartName="/ppt/theme/themeOverride1507.xml" ContentType="application/vnd.openxmlformats-officedocument.themeOverride+xml"/>
  <Override PartName="/ppt/theme/themeOverride1508.xml" ContentType="application/vnd.openxmlformats-officedocument.themeOverride+xml"/>
  <Override PartName="/ppt/theme/themeOverride1509.xml" ContentType="application/vnd.openxmlformats-officedocument.themeOverride+xml"/>
  <Override PartName="/ppt/theme/themeOverride151.xml" ContentType="application/vnd.openxmlformats-officedocument.themeOverride+xml"/>
  <Override PartName="/ppt/theme/themeOverride1510.xml" ContentType="application/vnd.openxmlformats-officedocument.themeOverride+xml"/>
  <Override PartName="/ppt/theme/themeOverride1511.xml" ContentType="application/vnd.openxmlformats-officedocument.themeOverride+xml"/>
  <Override PartName="/ppt/theme/themeOverride1512.xml" ContentType="application/vnd.openxmlformats-officedocument.themeOverride+xml"/>
  <Override PartName="/ppt/theme/themeOverride1513.xml" ContentType="application/vnd.openxmlformats-officedocument.themeOverride+xml"/>
  <Override PartName="/ppt/theme/themeOverride1514.xml" ContentType="application/vnd.openxmlformats-officedocument.themeOverride+xml"/>
  <Override PartName="/ppt/theme/themeOverride1515.xml" ContentType="application/vnd.openxmlformats-officedocument.themeOverride+xml"/>
  <Override PartName="/ppt/theme/themeOverride1516.xml" ContentType="application/vnd.openxmlformats-officedocument.themeOverride+xml"/>
  <Override PartName="/ppt/theme/themeOverride1517.xml" ContentType="application/vnd.openxmlformats-officedocument.themeOverride+xml"/>
  <Override PartName="/ppt/theme/themeOverride1518.xml" ContentType="application/vnd.openxmlformats-officedocument.themeOverride+xml"/>
  <Override PartName="/ppt/theme/themeOverride1519.xml" ContentType="application/vnd.openxmlformats-officedocument.themeOverride+xml"/>
  <Override PartName="/ppt/theme/themeOverride152.xml" ContentType="application/vnd.openxmlformats-officedocument.themeOverride+xml"/>
  <Override PartName="/ppt/theme/themeOverride1520.xml" ContentType="application/vnd.openxmlformats-officedocument.themeOverride+xml"/>
  <Override PartName="/ppt/theme/themeOverride1521.xml" ContentType="application/vnd.openxmlformats-officedocument.themeOverride+xml"/>
  <Override PartName="/ppt/theme/themeOverride1522.xml" ContentType="application/vnd.openxmlformats-officedocument.themeOverride+xml"/>
  <Override PartName="/ppt/theme/themeOverride1523.xml" ContentType="application/vnd.openxmlformats-officedocument.themeOverride+xml"/>
  <Override PartName="/ppt/theme/themeOverride1524.xml" ContentType="application/vnd.openxmlformats-officedocument.themeOverride+xml"/>
  <Override PartName="/ppt/theme/themeOverride1525.xml" ContentType="application/vnd.openxmlformats-officedocument.themeOverride+xml"/>
  <Override PartName="/ppt/theme/themeOverride1526.xml" ContentType="application/vnd.openxmlformats-officedocument.themeOverride+xml"/>
  <Override PartName="/ppt/theme/themeOverride1527.xml" ContentType="application/vnd.openxmlformats-officedocument.themeOverride+xml"/>
  <Override PartName="/ppt/theme/themeOverride1528.xml" ContentType="application/vnd.openxmlformats-officedocument.themeOverride+xml"/>
  <Override PartName="/ppt/theme/themeOverride1529.xml" ContentType="application/vnd.openxmlformats-officedocument.themeOverride+xml"/>
  <Override PartName="/ppt/theme/themeOverride153.xml" ContentType="application/vnd.openxmlformats-officedocument.themeOverride+xml"/>
  <Override PartName="/ppt/theme/themeOverride1530.xml" ContentType="application/vnd.openxmlformats-officedocument.themeOverride+xml"/>
  <Override PartName="/ppt/theme/themeOverride1531.xml" ContentType="application/vnd.openxmlformats-officedocument.themeOverride+xml"/>
  <Override PartName="/ppt/theme/themeOverride1532.xml" ContentType="application/vnd.openxmlformats-officedocument.themeOverride+xml"/>
  <Override PartName="/ppt/theme/themeOverride1533.xml" ContentType="application/vnd.openxmlformats-officedocument.themeOverride+xml"/>
  <Override PartName="/ppt/theme/themeOverride1534.xml" ContentType="application/vnd.openxmlformats-officedocument.themeOverride+xml"/>
  <Override PartName="/ppt/theme/themeOverride1535.xml" ContentType="application/vnd.openxmlformats-officedocument.themeOverride+xml"/>
  <Override PartName="/ppt/theme/themeOverride1536.xml" ContentType="application/vnd.openxmlformats-officedocument.themeOverride+xml"/>
  <Override PartName="/ppt/theme/themeOverride1537.xml" ContentType="application/vnd.openxmlformats-officedocument.themeOverride+xml"/>
  <Override PartName="/ppt/theme/themeOverride1538.xml" ContentType="application/vnd.openxmlformats-officedocument.themeOverride+xml"/>
  <Override PartName="/ppt/theme/themeOverride1539.xml" ContentType="application/vnd.openxmlformats-officedocument.themeOverride+xml"/>
  <Override PartName="/ppt/theme/themeOverride154.xml" ContentType="application/vnd.openxmlformats-officedocument.themeOverride+xml"/>
  <Override PartName="/ppt/theme/themeOverride1540.xml" ContentType="application/vnd.openxmlformats-officedocument.themeOverride+xml"/>
  <Override PartName="/ppt/theme/themeOverride1541.xml" ContentType="application/vnd.openxmlformats-officedocument.themeOverride+xml"/>
  <Override PartName="/ppt/theme/themeOverride1542.xml" ContentType="application/vnd.openxmlformats-officedocument.themeOverride+xml"/>
  <Override PartName="/ppt/theme/themeOverride1543.xml" ContentType="application/vnd.openxmlformats-officedocument.themeOverride+xml"/>
  <Override PartName="/ppt/theme/themeOverride1544.xml" ContentType="application/vnd.openxmlformats-officedocument.themeOverride+xml"/>
  <Override PartName="/ppt/theme/themeOverride1545.xml" ContentType="application/vnd.openxmlformats-officedocument.themeOverride+xml"/>
  <Override PartName="/ppt/theme/themeOverride1546.xml" ContentType="application/vnd.openxmlformats-officedocument.themeOverride+xml"/>
  <Override PartName="/ppt/theme/themeOverride1547.xml" ContentType="application/vnd.openxmlformats-officedocument.themeOverride+xml"/>
  <Override PartName="/ppt/theme/themeOverride1548.xml" ContentType="application/vnd.openxmlformats-officedocument.themeOverride+xml"/>
  <Override PartName="/ppt/theme/themeOverride1549.xml" ContentType="application/vnd.openxmlformats-officedocument.themeOverride+xml"/>
  <Override PartName="/ppt/theme/themeOverride155.xml" ContentType="application/vnd.openxmlformats-officedocument.themeOverride+xml"/>
  <Override PartName="/ppt/theme/themeOverride1550.xml" ContentType="application/vnd.openxmlformats-officedocument.themeOverride+xml"/>
  <Override PartName="/ppt/theme/themeOverride1551.xml" ContentType="application/vnd.openxmlformats-officedocument.themeOverride+xml"/>
  <Override PartName="/ppt/theme/themeOverride1552.xml" ContentType="application/vnd.openxmlformats-officedocument.themeOverride+xml"/>
  <Override PartName="/ppt/theme/themeOverride1553.xml" ContentType="application/vnd.openxmlformats-officedocument.themeOverride+xml"/>
  <Override PartName="/ppt/theme/themeOverride1554.xml" ContentType="application/vnd.openxmlformats-officedocument.themeOverride+xml"/>
  <Override PartName="/ppt/theme/themeOverride1555.xml" ContentType="application/vnd.openxmlformats-officedocument.themeOverride+xml"/>
  <Override PartName="/ppt/theme/themeOverride1556.xml" ContentType="application/vnd.openxmlformats-officedocument.themeOverride+xml"/>
  <Override PartName="/ppt/theme/themeOverride1557.xml" ContentType="application/vnd.openxmlformats-officedocument.themeOverride+xml"/>
  <Override PartName="/ppt/theme/themeOverride1558.xml" ContentType="application/vnd.openxmlformats-officedocument.themeOverride+xml"/>
  <Override PartName="/ppt/theme/themeOverride1559.xml" ContentType="application/vnd.openxmlformats-officedocument.themeOverride+xml"/>
  <Override PartName="/ppt/theme/themeOverride156.xml" ContentType="application/vnd.openxmlformats-officedocument.themeOverride+xml"/>
  <Override PartName="/ppt/theme/themeOverride1560.xml" ContentType="application/vnd.openxmlformats-officedocument.themeOverride+xml"/>
  <Override PartName="/ppt/theme/themeOverride1561.xml" ContentType="application/vnd.openxmlformats-officedocument.themeOverride+xml"/>
  <Override PartName="/ppt/theme/themeOverride1562.xml" ContentType="application/vnd.openxmlformats-officedocument.themeOverride+xml"/>
  <Override PartName="/ppt/theme/themeOverride1563.xml" ContentType="application/vnd.openxmlformats-officedocument.themeOverride+xml"/>
  <Override PartName="/ppt/theme/themeOverride1564.xml" ContentType="application/vnd.openxmlformats-officedocument.themeOverride+xml"/>
  <Override PartName="/ppt/theme/themeOverride1565.xml" ContentType="application/vnd.openxmlformats-officedocument.themeOverride+xml"/>
  <Override PartName="/ppt/theme/themeOverride1566.xml" ContentType="application/vnd.openxmlformats-officedocument.themeOverride+xml"/>
  <Override PartName="/ppt/theme/themeOverride1567.xml" ContentType="application/vnd.openxmlformats-officedocument.themeOverride+xml"/>
  <Override PartName="/ppt/theme/themeOverride1568.xml" ContentType="application/vnd.openxmlformats-officedocument.themeOverride+xml"/>
  <Override PartName="/ppt/theme/themeOverride1569.xml" ContentType="application/vnd.openxmlformats-officedocument.themeOverride+xml"/>
  <Override PartName="/ppt/theme/themeOverride157.xml" ContentType="application/vnd.openxmlformats-officedocument.themeOverride+xml"/>
  <Override PartName="/ppt/theme/themeOverride1570.xml" ContentType="application/vnd.openxmlformats-officedocument.themeOverride+xml"/>
  <Override PartName="/ppt/theme/themeOverride1571.xml" ContentType="application/vnd.openxmlformats-officedocument.themeOverride+xml"/>
  <Override PartName="/ppt/theme/themeOverride1572.xml" ContentType="application/vnd.openxmlformats-officedocument.themeOverride+xml"/>
  <Override PartName="/ppt/theme/themeOverride1573.xml" ContentType="application/vnd.openxmlformats-officedocument.themeOverride+xml"/>
  <Override PartName="/ppt/theme/themeOverride1574.xml" ContentType="application/vnd.openxmlformats-officedocument.themeOverride+xml"/>
  <Override PartName="/ppt/theme/themeOverride1575.xml" ContentType="application/vnd.openxmlformats-officedocument.themeOverride+xml"/>
  <Override PartName="/ppt/theme/themeOverride1576.xml" ContentType="application/vnd.openxmlformats-officedocument.themeOverride+xml"/>
  <Override PartName="/ppt/theme/themeOverride1577.xml" ContentType="application/vnd.openxmlformats-officedocument.themeOverride+xml"/>
  <Override PartName="/ppt/theme/themeOverride1578.xml" ContentType="application/vnd.openxmlformats-officedocument.themeOverride+xml"/>
  <Override PartName="/ppt/theme/themeOverride1579.xml" ContentType="application/vnd.openxmlformats-officedocument.themeOverride+xml"/>
  <Override PartName="/ppt/theme/themeOverride158.xml" ContentType="application/vnd.openxmlformats-officedocument.themeOverride+xml"/>
  <Override PartName="/ppt/theme/themeOverride1580.xml" ContentType="application/vnd.openxmlformats-officedocument.themeOverride+xml"/>
  <Override PartName="/ppt/theme/themeOverride1581.xml" ContentType="application/vnd.openxmlformats-officedocument.themeOverride+xml"/>
  <Override PartName="/ppt/theme/themeOverride1582.xml" ContentType="application/vnd.openxmlformats-officedocument.themeOverride+xml"/>
  <Override PartName="/ppt/theme/themeOverride1583.xml" ContentType="application/vnd.openxmlformats-officedocument.themeOverride+xml"/>
  <Override PartName="/ppt/theme/themeOverride1584.xml" ContentType="application/vnd.openxmlformats-officedocument.themeOverride+xml"/>
  <Override PartName="/ppt/theme/themeOverride1585.xml" ContentType="application/vnd.openxmlformats-officedocument.themeOverride+xml"/>
  <Override PartName="/ppt/theme/themeOverride1586.xml" ContentType="application/vnd.openxmlformats-officedocument.themeOverride+xml"/>
  <Override PartName="/ppt/theme/themeOverride1587.xml" ContentType="application/vnd.openxmlformats-officedocument.themeOverride+xml"/>
  <Override PartName="/ppt/theme/themeOverride1588.xml" ContentType="application/vnd.openxmlformats-officedocument.themeOverride+xml"/>
  <Override PartName="/ppt/theme/themeOverride1589.xml" ContentType="application/vnd.openxmlformats-officedocument.themeOverride+xml"/>
  <Override PartName="/ppt/theme/themeOverride159.xml" ContentType="application/vnd.openxmlformats-officedocument.themeOverride+xml"/>
  <Override PartName="/ppt/theme/themeOverride1590.xml" ContentType="application/vnd.openxmlformats-officedocument.themeOverride+xml"/>
  <Override PartName="/ppt/theme/themeOverride1591.xml" ContentType="application/vnd.openxmlformats-officedocument.themeOverride+xml"/>
  <Override PartName="/ppt/theme/themeOverride1592.xml" ContentType="application/vnd.openxmlformats-officedocument.themeOverride+xml"/>
  <Override PartName="/ppt/theme/themeOverride1593.xml" ContentType="application/vnd.openxmlformats-officedocument.themeOverride+xml"/>
  <Override PartName="/ppt/theme/themeOverride1594.xml" ContentType="application/vnd.openxmlformats-officedocument.themeOverride+xml"/>
  <Override PartName="/ppt/theme/themeOverride1595.xml" ContentType="application/vnd.openxmlformats-officedocument.themeOverride+xml"/>
  <Override PartName="/ppt/theme/themeOverride1596.xml" ContentType="application/vnd.openxmlformats-officedocument.themeOverride+xml"/>
  <Override PartName="/ppt/theme/themeOverride1597.xml" ContentType="application/vnd.openxmlformats-officedocument.themeOverride+xml"/>
  <Override PartName="/ppt/theme/themeOverride1598.xml" ContentType="application/vnd.openxmlformats-officedocument.themeOverride+xml"/>
  <Override PartName="/ppt/theme/themeOverride1599.xml" ContentType="application/vnd.openxmlformats-officedocument.themeOverride+xml"/>
  <Override PartName="/ppt/theme/themeOverride16.xml" ContentType="application/vnd.openxmlformats-officedocument.themeOverride+xml"/>
  <Override PartName="/ppt/theme/themeOverride160.xml" ContentType="application/vnd.openxmlformats-officedocument.themeOverride+xml"/>
  <Override PartName="/ppt/theme/themeOverride1600.xml" ContentType="application/vnd.openxmlformats-officedocument.themeOverride+xml"/>
  <Override PartName="/ppt/theme/themeOverride1601.xml" ContentType="application/vnd.openxmlformats-officedocument.themeOverride+xml"/>
  <Override PartName="/ppt/theme/themeOverride1602.xml" ContentType="application/vnd.openxmlformats-officedocument.themeOverride+xml"/>
  <Override PartName="/ppt/theme/themeOverride1603.xml" ContentType="application/vnd.openxmlformats-officedocument.themeOverride+xml"/>
  <Override PartName="/ppt/theme/themeOverride1604.xml" ContentType="application/vnd.openxmlformats-officedocument.themeOverride+xml"/>
  <Override PartName="/ppt/theme/themeOverride1605.xml" ContentType="application/vnd.openxmlformats-officedocument.themeOverride+xml"/>
  <Override PartName="/ppt/theme/themeOverride1606.xml" ContentType="application/vnd.openxmlformats-officedocument.themeOverride+xml"/>
  <Override PartName="/ppt/theme/themeOverride1607.xml" ContentType="application/vnd.openxmlformats-officedocument.themeOverride+xml"/>
  <Override PartName="/ppt/theme/themeOverride1608.xml" ContentType="application/vnd.openxmlformats-officedocument.themeOverride+xml"/>
  <Override PartName="/ppt/theme/themeOverride1609.xml" ContentType="application/vnd.openxmlformats-officedocument.themeOverride+xml"/>
  <Override PartName="/ppt/theme/themeOverride161.xml" ContentType="application/vnd.openxmlformats-officedocument.themeOverride+xml"/>
  <Override PartName="/ppt/theme/themeOverride1610.xml" ContentType="application/vnd.openxmlformats-officedocument.themeOverride+xml"/>
  <Override PartName="/ppt/theme/themeOverride1611.xml" ContentType="application/vnd.openxmlformats-officedocument.themeOverride+xml"/>
  <Override PartName="/ppt/theme/themeOverride1612.xml" ContentType="application/vnd.openxmlformats-officedocument.themeOverride+xml"/>
  <Override PartName="/ppt/theme/themeOverride1613.xml" ContentType="application/vnd.openxmlformats-officedocument.themeOverride+xml"/>
  <Override PartName="/ppt/theme/themeOverride1614.xml" ContentType="application/vnd.openxmlformats-officedocument.themeOverride+xml"/>
  <Override PartName="/ppt/theme/themeOverride1615.xml" ContentType="application/vnd.openxmlformats-officedocument.themeOverride+xml"/>
  <Override PartName="/ppt/theme/themeOverride1616.xml" ContentType="application/vnd.openxmlformats-officedocument.themeOverride+xml"/>
  <Override PartName="/ppt/theme/themeOverride1617.xml" ContentType="application/vnd.openxmlformats-officedocument.themeOverride+xml"/>
  <Override PartName="/ppt/theme/themeOverride1618.xml" ContentType="application/vnd.openxmlformats-officedocument.themeOverride+xml"/>
  <Override PartName="/ppt/theme/themeOverride1619.xml" ContentType="application/vnd.openxmlformats-officedocument.themeOverride+xml"/>
  <Override PartName="/ppt/theme/themeOverride162.xml" ContentType="application/vnd.openxmlformats-officedocument.themeOverride+xml"/>
  <Override PartName="/ppt/theme/themeOverride1620.xml" ContentType="application/vnd.openxmlformats-officedocument.themeOverride+xml"/>
  <Override PartName="/ppt/theme/themeOverride1621.xml" ContentType="application/vnd.openxmlformats-officedocument.themeOverride+xml"/>
  <Override PartName="/ppt/theme/themeOverride1622.xml" ContentType="application/vnd.openxmlformats-officedocument.themeOverride+xml"/>
  <Override PartName="/ppt/theme/themeOverride1623.xml" ContentType="application/vnd.openxmlformats-officedocument.themeOverride+xml"/>
  <Override PartName="/ppt/theme/themeOverride1624.xml" ContentType="application/vnd.openxmlformats-officedocument.themeOverride+xml"/>
  <Override PartName="/ppt/theme/themeOverride1625.xml" ContentType="application/vnd.openxmlformats-officedocument.themeOverride+xml"/>
  <Override PartName="/ppt/theme/themeOverride1626.xml" ContentType="application/vnd.openxmlformats-officedocument.themeOverride+xml"/>
  <Override PartName="/ppt/theme/themeOverride1627.xml" ContentType="application/vnd.openxmlformats-officedocument.themeOverride+xml"/>
  <Override PartName="/ppt/theme/themeOverride1628.xml" ContentType="application/vnd.openxmlformats-officedocument.themeOverride+xml"/>
  <Override PartName="/ppt/theme/themeOverride1629.xml" ContentType="application/vnd.openxmlformats-officedocument.themeOverride+xml"/>
  <Override PartName="/ppt/theme/themeOverride163.xml" ContentType="application/vnd.openxmlformats-officedocument.themeOverride+xml"/>
  <Override PartName="/ppt/theme/themeOverride1630.xml" ContentType="application/vnd.openxmlformats-officedocument.themeOverride+xml"/>
  <Override PartName="/ppt/theme/themeOverride1631.xml" ContentType="application/vnd.openxmlformats-officedocument.themeOverride+xml"/>
  <Override PartName="/ppt/theme/themeOverride1632.xml" ContentType="application/vnd.openxmlformats-officedocument.themeOverride+xml"/>
  <Override PartName="/ppt/theme/themeOverride1633.xml" ContentType="application/vnd.openxmlformats-officedocument.themeOverride+xml"/>
  <Override PartName="/ppt/theme/themeOverride1634.xml" ContentType="application/vnd.openxmlformats-officedocument.themeOverride+xml"/>
  <Override PartName="/ppt/theme/themeOverride1635.xml" ContentType="application/vnd.openxmlformats-officedocument.themeOverride+xml"/>
  <Override PartName="/ppt/theme/themeOverride1636.xml" ContentType="application/vnd.openxmlformats-officedocument.themeOverride+xml"/>
  <Override PartName="/ppt/theme/themeOverride1637.xml" ContentType="application/vnd.openxmlformats-officedocument.themeOverride+xml"/>
  <Override PartName="/ppt/theme/themeOverride1638.xml" ContentType="application/vnd.openxmlformats-officedocument.themeOverride+xml"/>
  <Override PartName="/ppt/theme/themeOverride1639.xml" ContentType="application/vnd.openxmlformats-officedocument.themeOverride+xml"/>
  <Override PartName="/ppt/theme/themeOverride164.xml" ContentType="application/vnd.openxmlformats-officedocument.themeOverride+xml"/>
  <Override PartName="/ppt/theme/themeOverride1640.xml" ContentType="application/vnd.openxmlformats-officedocument.themeOverride+xml"/>
  <Override PartName="/ppt/theme/themeOverride1641.xml" ContentType="application/vnd.openxmlformats-officedocument.themeOverride+xml"/>
  <Override PartName="/ppt/theme/themeOverride1642.xml" ContentType="application/vnd.openxmlformats-officedocument.themeOverride+xml"/>
  <Override PartName="/ppt/theme/themeOverride1643.xml" ContentType="application/vnd.openxmlformats-officedocument.themeOverride+xml"/>
  <Override PartName="/ppt/theme/themeOverride1644.xml" ContentType="application/vnd.openxmlformats-officedocument.themeOverride+xml"/>
  <Override PartName="/ppt/theme/themeOverride1645.xml" ContentType="application/vnd.openxmlformats-officedocument.themeOverride+xml"/>
  <Override PartName="/ppt/theme/themeOverride1646.xml" ContentType="application/vnd.openxmlformats-officedocument.themeOverride+xml"/>
  <Override PartName="/ppt/theme/themeOverride1647.xml" ContentType="application/vnd.openxmlformats-officedocument.themeOverride+xml"/>
  <Override PartName="/ppt/theme/themeOverride1648.xml" ContentType="application/vnd.openxmlformats-officedocument.themeOverride+xml"/>
  <Override PartName="/ppt/theme/themeOverride1649.xml" ContentType="application/vnd.openxmlformats-officedocument.themeOverride+xml"/>
  <Override PartName="/ppt/theme/themeOverride165.xml" ContentType="application/vnd.openxmlformats-officedocument.themeOverride+xml"/>
  <Override PartName="/ppt/theme/themeOverride1650.xml" ContentType="application/vnd.openxmlformats-officedocument.themeOverride+xml"/>
  <Override PartName="/ppt/theme/themeOverride1651.xml" ContentType="application/vnd.openxmlformats-officedocument.themeOverride+xml"/>
  <Override PartName="/ppt/theme/themeOverride1652.xml" ContentType="application/vnd.openxmlformats-officedocument.themeOverride+xml"/>
  <Override PartName="/ppt/theme/themeOverride1653.xml" ContentType="application/vnd.openxmlformats-officedocument.themeOverride+xml"/>
  <Override PartName="/ppt/theme/themeOverride1654.xml" ContentType="application/vnd.openxmlformats-officedocument.themeOverride+xml"/>
  <Override PartName="/ppt/theme/themeOverride1655.xml" ContentType="application/vnd.openxmlformats-officedocument.themeOverride+xml"/>
  <Override PartName="/ppt/theme/themeOverride1656.xml" ContentType="application/vnd.openxmlformats-officedocument.themeOverride+xml"/>
  <Override PartName="/ppt/theme/themeOverride1657.xml" ContentType="application/vnd.openxmlformats-officedocument.themeOverride+xml"/>
  <Override PartName="/ppt/theme/themeOverride1658.xml" ContentType="application/vnd.openxmlformats-officedocument.themeOverride+xml"/>
  <Override PartName="/ppt/theme/themeOverride1659.xml" ContentType="application/vnd.openxmlformats-officedocument.themeOverride+xml"/>
  <Override PartName="/ppt/theme/themeOverride166.xml" ContentType="application/vnd.openxmlformats-officedocument.themeOverride+xml"/>
  <Override PartName="/ppt/theme/themeOverride1660.xml" ContentType="application/vnd.openxmlformats-officedocument.themeOverride+xml"/>
  <Override PartName="/ppt/theme/themeOverride1661.xml" ContentType="application/vnd.openxmlformats-officedocument.themeOverride+xml"/>
  <Override PartName="/ppt/theme/themeOverride1662.xml" ContentType="application/vnd.openxmlformats-officedocument.themeOverride+xml"/>
  <Override PartName="/ppt/theme/themeOverride1663.xml" ContentType="application/vnd.openxmlformats-officedocument.themeOverride+xml"/>
  <Override PartName="/ppt/theme/themeOverride1664.xml" ContentType="application/vnd.openxmlformats-officedocument.themeOverride+xml"/>
  <Override PartName="/ppt/theme/themeOverride1665.xml" ContentType="application/vnd.openxmlformats-officedocument.themeOverride+xml"/>
  <Override PartName="/ppt/theme/themeOverride1666.xml" ContentType="application/vnd.openxmlformats-officedocument.themeOverride+xml"/>
  <Override PartName="/ppt/theme/themeOverride1667.xml" ContentType="application/vnd.openxmlformats-officedocument.themeOverride+xml"/>
  <Override PartName="/ppt/theme/themeOverride1668.xml" ContentType="application/vnd.openxmlformats-officedocument.themeOverride+xml"/>
  <Override PartName="/ppt/theme/themeOverride1669.xml" ContentType="application/vnd.openxmlformats-officedocument.themeOverride+xml"/>
  <Override PartName="/ppt/theme/themeOverride167.xml" ContentType="application/vnd.openxmlformats-officedocument.themeOverride+xml"/>
  <Override PartName="/ppt/theme/themeOverride1670.xml" ContentType="application/vnd.openxmlformats-officedocument.themeOverride+xml"/>
  <Override PartName="/ppt/theme/themeOverride1671.xml" ContentType="application/vnd.openxmlformats-officedocument.themeOverride+xml"/>
  <Override PartName="/ppt/theme/themeOverride1672.xml" ContentType="application/vnd.openxmlformats-officedocument.themeOverride+xml"/>
  <Override PartName="/ppt/theme/themeOverride1673.xml" ContentType="application/vnd.openxmlformats-officedocument.themeOverride+xml"/>
  <Override PartName="/ppt/theme/themeOverride1674.xml" ContentType="application/vnd.openxmlformats-officedocument.themeOverride+xml"/>
  <Override PartName="/ppt/theme/themeOverride1675.xml" ContentType="application/vnd.openxmlformats-officedocument.themeOverride+xml"/>
  <Override PartName="/ppt/theme/themeOverride1676.xml" ContentType="application/vnd.openxmlformats-officedocument.themeOverride+xml"/>
  <Override PartName="/ppt/theme/themeOverride1677.xml" ContentType="application/vnd.openxmlformats-officedocument.themeOverride+xml"/>
  <Override PartName="/ppt/theme/themeOverride1678.xml" ContentType="application/vnd.openxmlformats-officedocument.themeOverride+xml"/>
  <Override PartName="/ppt/theme/themeOverride1679.xml" ContentType="application/vnd.openxmlformats-officedocument.themeOverride+xml"/>
  <Override PartName="/ppt/theme/themeOverride168.xml" ContentType="application/vnd.openxmlformats-officedocument.themeOverride+xml"/>
  <Override PartName="/ppt/theme/themeOverride1680.xml" ContentType="application/vnd.openxmlformats-officedocument.themeOverride+xml"/>
  <Override PartName="/ppt/theme/themeOverride1681.xml" ContentType="application/vnd.openxmlformats-officedocument.themeOverride+xml"/>
  <Override PartName="/ppt/theme/themeOverride1682.xml" ContentType="application/vnd.openxmlformats-officedocument.themeOverride+xml"/>
  <Override PartName="/ppt/theme/themeOverride1683.xml" ContentType="application/vnd.openxmlformats-officedocument.themeOverride+xml"/>
  <Override PartName="/ppt/theme/themeOverride1684.xml" ContentType="application/vnd.openxmlformats-officedocument.themeOverride+xml"/>
  <Override PartName="/ppt/theme/themeOverride1685.xml" ContentType="application/vnd.openxmlformats-officedocument.themeOverride+xml"/>
  <Override PartName="/ppt/theme/themeOverride1686.xml" ContentType="application/vnd.openxmlformats-officedocument.themeOverride+xml"/>
  <Override PartName="/ppt/theme/themeOverride1687.xml" ContentType="application/vnd.openxmlformats-officedocument.themeOverride+xml"/>
  <Override PartName="/ppt/theme/themeOverride1688.xml" ContentType="application/vnd.openxmlformats-officedocument.themeOverride+xml"/>
  <Override PartName="/ppt/theme/themeOverride1689.xml" ContentType="application/vnd.openxmlformats-officedocument.themeOverride+xml"/>
  <Override PartName="/ppt/theme/themeOverride169.xml" ContentType="application/vnd.openxmlformats-officedocument.themeOverride+xml"/>
  <Override PartName="/ppt/theme/themeOverride1690.xml" ContentType="application/vnd.openxmlformats-officedocument.themeOverride+xml"/>
  <Override PartName="/ppt/theme/themeOverride1691.xml" ContentType="application/vnd.openxmlformats-officedocument.themeOverride+xml"/>
  <Override PartName="/ppt/theme/themeOverride1692.xml" ContentType="application/vnd.openxmlformats-officedocument.themeOverride+xml"/>
  <Override PartName="/ppt/theme/themeOverride1693.xml" ContentType="application/vnd.openxmlformats-officedocument.themeOverride+xml"/>
  <Override PartName="/ppt/theme/themeOverride1694.xml" ContentType="application/vnd.openxmlformats-officedocument.themeOverride+xml"/>
  <Override PartName="/ppt/theme/themeOverride1695.xml" ContentType="application/vnd.openxmlformats-officedocument.themeOverride+xml"/>
  <Override PartName="/ppt/theme/themeOverride1696.xml" ContentType="application/vnd.openxmlformats-officedocument.themeOverride+xml"/>
  <Override PartName="/ppt/theme/themeOverride1697.xml" ContentType="application/vnd.openxmlformats-officedocument.themeOverride+xml"/>
  <Override PartName="/ppt/theme/themeOverride1698.xml" ContentType="application/vnd.openxmlformats-officedocument.themeOverride+xml"/>
  <Override PartName="/ppt/theme/themeOverride1699.xml" ContentType="application/vnd.openxmlformats-officedocument.themeOverride+xml"/>
  <Override PartName="/ppt/theme/themeOverride17.xml" ContentType="application/vnd.openxmlformats-officedocument.themeOverride+xml"/>
  <Override PartName="/ppt/theme/themeOverride170.xml" ContentType="application/vnd.openxmlformats-officedocument.themeOverride+xml"/>
  <Override PartName="/ppt/theme/themeOverride1700.xml" ContentType="application/vnd.openxmlformats-officedocument.themeOverride+xml"/>
  <Override PartName="/ppt/theme/themeOverride1701.xml" ContentType="application/vnd.openxmlformats-officedocument.themeOverride+xml"/>
  <Override PartName="/ppt/theme/themeOverride1702.xml" ContentType="application/vnd.openxmlformats-officedocument.themeOverride+xml"/>
  <Override PartName="/ppt/theme/themeOverride1703.xml" ContentType="application/vnd.openxmlformats-officedocument.themeOverride+xml"/>
  <Override PartName="/ppt/theme/themeOverride1704.xml" ContentType="application/vnd.openxmlformats-officedocument.themeOverride+xml"/>
  <Override PartName="/ppt/theme/themeOverride1705.xml" ContentType="application/vnd.openxmlformats-officedocument.themeOverride+xml"/>
  <Override PartName="/ppt/theme/themeOverride1706.xml" ContentType="application/vnd.openxmlformats-officedocument.themeOverride+xml"/>
  <Override PartName="/ppt/theme/themeOverride1707.xml" ContentType="application/vnd.openxmlformats-officedocument.themeOverride+xml"/>
  <Override PartName="/ppt/theme/themeOverride1708.xml" ContentType="application/vnd.openxmlformats-officedocument.themeOverride+xml"/>
  <Override PartName="/ppt/theme/themeOverride1709.xml" ContentType="application/vnd.openxmlformats-officedocument.themeOverride+xml"/>
  <Override PartName="/ppt/theme/themeOverride171.xml" ContentType="application/vnd.openxmlformats-officedocument.themeOverride+xml"/>
  <Override PartName="/ppt/theme/themeOverride1710.xml" ContentType="application/vnd.openxmlformats-officedocument.themeOverride+xml"/>
  <Override PartName="/ppt/theme/themeOverride1711.xml" ContentType="application/vnd.openxmlformats-officedocument.themeOverride+xml"/>
  <Override PartName="/ppt/theme/themeOverride1712.xml" ContentType="application/vnd.openxmlformats-officedocument.themeOverride+xml"/>
  <Override PartName="/ppt/theme/themeOverride1713.xml" ContentType="application/vnd.openxmlformats-officedocument.themeOverride+xml"/>
  <Override PartName="/ppt/theme/themeOverride1714.xml" ContentType="application/vnd.openxmlformats-officedocument.themeOverride+xml"/>
  <Override PartName="/ppt/theme/themeOverride1715.xml" ContentType="application/vnd.openxmlformats-officedocument.themeOverride+xml"/>
  <Override PartName="/ppt/theme/themeOverride1716.xml" ContentType="application/vnd.openxmlformats-officedocument.themeOverride+xml"/>
  <Override PartName="/ppt/theme/themeOverride1717.xml" ContentType="application/vnd.openxmlformats-officedocument.themeOverride+xml"/>
  <Override PartName="/ppt/theme/themeOverride1718.xml" ContentType="application/vnd.openxmlformats-officedocument.themeOverride+xml"/>
  <Override PartName="/ppt/theme/themeOverride1719.xml" ContentType="application/vnd.openxmlformats-officedocument.themeOverride+xml"/>
  <Override PartName="/ppt/theme/themeOverride172.xml" ContentType="application/vnd.openxmlformats-officedocument.themeOverride+xml"/>
  <Override PartName="/ppt/theme/themeOverride1720.xml" ContentType="application/vnd.openxmlformats-officedocument.themeOverride+xml"/>
  <Override PartName="/ppt/theme/themeOverride1721.xml" ContentType="application/vnd.openxmlformats-officedocument.themeOverride+xml"/>
  <Override PartName="/ppt/theme/themeOverride1722.xml" ContentType="application/vnd.openxmlformats-officedocument.themeOverride+xml"/>
  <Override PartName="/ppt/theme/themeOverride1723.xml" ContentType="application/vnd.openxmlformats-officedocument.themeOverride+xml"/>
  <Override PartName="/ppt/theme/themeOverride1724.xml" ContentType="application/vnd.openxmlformats-officedocument.themeOverride+xml"/>
  <Override PartName="/ppt/theme/themeOverride1725.xml" ContentType="application/vnd.openxmlformats-officedocument.themeOverride+xml"/>
  <Override PartName="/ppt/theme/themeOverride1726.xml" ContentType="application/vnd.openxmlformats-officedocument.themeOverride+xml"/>
  <Override PartName="/ppt/theme/themeOverride1727.xml" ContentType="application/vnd.openxmlformats-officedocument.themeOverride+xml"/>
  <Override PartName="/ppt/theme/themeOverride1728.xml" ContentType="application/vnd.openxmlformats-officedocument.themeOverride+xml"/>
  <Override PartName="/ppt/theme/themeOverride1729.xml" ContentType="application/vnd.openxmlformats-officedocument.themeOverride+xml"/>
  <Override PartName="/ppt/theme/themeOverride173.xml" ContentType="application/vnd.openxmlformats-officedocument.themeOverride+xml"/>
  <Override PartName="/ppt/theme/themeOverride1730.xml" ContentType="application/vnd.openxmlformats-officedocument.themeOverride+xml"/>
  <Override PartName="/ppt/theme/themeOverride1731.xml" ContentType="application/vnd.openxmlformats-officedocument.themeOverride+xml"/>
  <Override PartName="/ppt/theme/themeOverride1732.xml" ContentType="application/vnd.openxmlformats-officedocument.themeOverride+xml"/>
  <Override PartName="/ppt/theme/themeOverride1733.xml" ContentType="application/vnd.openxmlformats-officedocument.themeOverride+xml"/>
  <Override PartName="/ppt/theme/themeOverride1734.xml" ContentType="application/vnd.openxmlformats-officedocument.themeOverride+xml"/>
  <Override PartName="/ppt/theme/themeOverride1735.xml" ContentType="application/vnd.openxmlformats-officedocument.themeOverride+xml"/>
  <Override PartName="/ppt/theme/themeOverride1736.xml" ContentType="application/vnd.openxmlformats-officedocument.themeOverride+xml"/>
  <Override PartName="/ppt/theme/themeOverride1737.xml" ContentType="application/vnd.openxmlformats-officedocument.themeOverride+xml"/>
  <Override PartName="/ppt/theme/themeOverride1738.xml" ContentType="application/vnd.openxmlformats-officedocument.themeOverride+xml"/>
  <Override PartName="/ppt/theme/themeOverride1739.xml" ContentType="application/vnd.openxmlformats-officedocument.themeOverride+xml"/>
  <Override PartName="/ppt/theme/themeOverride174.xml" ContentType="application/vnd.openxmlformats-officedocument.themeOverride+xml"/>
  <Override PartName="/ppt/theme/themeOverride1740.xml" ContentType="application/vnd.openxmlformats-officedocument.themeOverride+xml"/>
  <Override PartName="/ppt/theme/themeOverride1741.xml" ContentType="application/vnd.openxmlformats-officedocument.themeOverride+xml"/>
  <Override PartName="/ppt/theme/themeOverride1742.xml" ContentType="application/vnd.openxmlformats-officedocument.themeOverride+xml"/>
  <Override PartName="/ppt/theme/themeOverride1743.xml" ContentType="application/vnd.openxmlformats-officedocument.themeOverride+xml"/>
  <Override PartName="/ppt/theme/themeOverride1744.xml" ContentType="application/vnd.openxmlformats-officedocument.themeOverride+xml"/>
  <Override PartName="/ppt/theme/themeOverride1745.xml" ContentType="application/vnd.openxmlformats-officedocument.themeOverride+xml"/>
  <Override PartName="/ppt/theme/themeOverride1746.xml" ContentType="application/vnd.openxmlformats-officedocument.themeOverride+xml"/>
  <Override PartName="/ppt/theme/themeOverride1747.xml" ContentType="application/vnd.openxmlformats-officedocument.themeOverride+xml"/>
  <Override PartName="/ppt/theme/themeOverride1748.xml" ContentType="application/vnd.openxmlformats-officedocument.themeOverride+xml"/>
  <Override PartName="/ppt/theme/themeOverride1749.xml" ContentType="application/vnd.openxmlformats-officedocument.themeOverride+xml"/>
  <Override PartName="/ppt/theme/themeOverride175.xml" ContentType="application/vnd.openxmlformats-officedocument.themeOverride+xml"/>
  <Override PartName="/ppt/theme/themeOverride1750.xml" ContentType="application/vnd.openxmlformats-officedocument.themeOverride+xml"/>
  <Override PartName="/ppt/theme/themeOverride1751.xml" ContentType="application/vnd.openxmlformats-officedocument.themeOverride+xml"/>
  <Override PartName="/ppt/theme/themeOverride1752.xml" ContentType="application/vnd.openxmlformats-officedocument.themeOverride+xml"/>
  <Override PartName="/ppt/theme/themeOverride1753.xml" ContentType="application/vnd.openxmlformats-officedocument.themeOverride+xml"/>
  <Override PartName="/ppt/theme/themeOverride1754.xml" ContentType="application/vnd.openxmlformats-officedocument.themeOverride+xml"/>
  <Override PartName="/ppt/theme/themeOverride1755.xml" ContentType="application/vnd.openxmlformats-officedocument.themeOverride+xml"/>
  <Override PartName="/ppt/theme/themeOverride1756.xml" ContentType="application/vnd.openxmlformats-officedocument.themeOverride+xml"/>
  <Override PartName="/ppt/theme/themeOverride1757.xml" ContentType="application/vnd.openxmlformats-officedocument.themeOverride+xml"/>
  <Override PartName="/ppt/theme/themeOverride1758.xml" ContentType="application/vnd.openxmlformats-officedocument.themeOverride+xml"/>
  <Override PartName="/ppt/theme/themeOverride1759.xml" ContentType="application/vnd.openxmlformats-officedocument.themeOverride+xml"/>
  <Override PartName="/ppt/theme/themeOverride176.xml" ContentType="application/vnd.openxmlformats-officedocument.themeOverride+xml"/>
  <Override PartName="/ppt/theme/themeOverride1760.xml" ContentType="application/vnd.openxmlformats-officedocument.themeOverride+xml"/>
  <Override PartName="/ppt/theme/themeOverride1761.xml" ContentType="application/vnd.openxmlformats-officedocument.themeOverride+xml"/>
  <Override PartName="/ppt/theme/themeOverride1762.xml" ContentType="application/vnd.openxmlformats-officedocument.themeOverride+xml"/>
  <Override PartName="/ppt/theme/themeOverride1763.xml" ContentType="application/vnd.openxmlformats-officedocument.themeOverride+xml"/>
  <Override PartName="/ppt/theme/themeOverride1764.xml" ContentType="application/vnd.openxmlformats-officedocument.themeOverride+xml"/>
  <Override PartName="/ppt/theme/themeOverride1765.xml" ContentType="application/vnd.openxmlformats-officedocument.themeOverride+xml"/>
  <Override PartName="/ppt/theme/themeOverride1766.xml" ContentType="application/vnd.openxmlformats-officedocument.themeOverride+xml"/>
  <Override PartName="/ppt/theme/themeOverride1767.xml" ContentType="application/vnd.openxmlformats-officedocument.themeOverride+xml"/>
  <Override PartName="/ppt/theme/themeOverride1768.xml" ContentType="application/vnd.openxmlformats-officedocument.themeOverride+xml"/>
  <Override PartName="/ppt/theme/themeOverride1769.xml" ContentType="application/vnd.openxmlformats-officedocument.themeOverride+xml"/>
  <Override PartName="/ppt/theme/themeOverride177.xml" ContentType="application/vnd.openxmlformats-officedocument.themeOverride+xml"/>
  <Override PartName="/ppt/theme/themeOverride1770.xml" ContentType="application/vnd.openxmlformats-officedocument.themeOverride+xml"/>
  <Override PartName="/ppt/theme/themeOverride1771.xml" ContentType="application/vnd.openxmlformats-officedocument.themeOverride+xml"/>
  <Override PartName="/ppt/theme/themeOverride1772.xml" ContentType="application/vnd.openxmlformats-officedocument.themeOverride+xml"/>
  <Override PartName="/ppt/theme/themeOverride1773.xml" ContentType="application/vnd.openxmlformats-officedocument.themeOverride+xml"/>
  <Override PartName="/ppt/theme/themeOverride1774.xml" ContentType="application/vnd.openxmlformats-officedocument.themeOverride+xml"/>
  <Override PartName="/ppt/theme/themeOverride1775.xml" ContentType="application/vnd.openxmlformats-officedocument.themeOverride+xml"/>
  <Override PartName="/ppt/theme/themeOverride1776.xml" ContentType="application/vnd.openxmlformats-officedocument.themeOverride+xml"/>
  <Override PartName="/ppt/theme/themeOverride1777.xml" ContentType="application/vnd.openxmlformats-officedocument.themeOverride+xml"/>
  <Override PartName="/ppt/theme/themeOverride1778.xml" ContentType="application/vnd.openxmlformats-officedocument.themeOverride+xml"/>
  <Override PartName="/ppt/theme/themeOverride1779.xml" ContentType="application/vnd.openxmlformats-officedocument.themeOverride+xml"/>
  <Override PartName="/ppt/theme/themeOverride178.xml" ContentType="application/vnd.openxmlformats-officedocument.themeOverride+xml"/>
  <Override PartName="/ppt/theme/themeOverride1780.xml" ContentType="application/vnd.openxmlformats-officedocument.themeOverride+xml"/>
  <Override PartName="/ppt/theme/themeOverride1781.xml" ContentType="application/vnd.openxmlformats-officedocument.themeOverride+xml"/>
  <Override PartName="/ppt/theme/themeOverride1782.xml" ContentType="application/vnd.openxmlformats-officedocument.themeOverride+xml"/>
  <Override PartName="/ppt/theme/themeOverride1783.xml" ContentType="application/vnd.openxmlformats-officedocument.themeOverride+xml"/>
  <Override PartName="/ppt/theme/themeOverride1784.xml" ContentType="application/vnd.openxmlformats-officedocument.themeOverride+xml"/>
  <Override PartName="/ppt/theme/themeOverride1785.xml" ContentType="application/vnd.openxmlformats-officedocument.themeOverride+xml"/>
  <Override PartName="/ppt/theme/themeOverride1786.xml" ContentType="application/vnd.openxmlformats-officedocument.themeOverride+xml"/>
  <Override PartName="/ppt/theme/themeOverride1787.xml" ContentType="application/vnd.openxmlformats-officedocument.themeOverride+xml"/>
  <Override PartName="/ppt/theme/themeOverride1788.xml" ContentType="application/vnd.openxmlformats-officedocument.themeOverride+xml"/>
  <Override PartName="/ppt/theme/themeOverride1789.xml" ContentType="application/vnd.openxmlformats-officedocument.themeOverride+xml"/>
  <Override PartName="/ppt/theme/themeOverride179.xml" ContentType="application/vnd.openxmlformats-officedocument.themeOverride+xml"/>
  <Override PartName="/ppt/theme/themeOverride1790.xml" ContentType="application/vnd.openxmlformats-officedocument.themeOverride+xml"/>
  <Override PartName="/ppt/theme/themeOverride1791.xml" ContentType="application/vnd.openxmlformats-officedocument.themeOverride+xml"/>
  <Override PartName="/ppt/theme/themeOverride1792.xml" ContentType="application/vnd.openxmlformats-officedocument.themeOverride+xml"/>
  <Override PartName="/ppt/theme/themeOverride1793.xml" ContentType="application/vnd.openxmlformats-officedocument.themeOverride+xml"/>
  <Override PartName="/ppt/theme/themeOverride1794.xml" ContentType="application/vnd.openxmlformats-officedocument.themeOverride+xml"/>
  <Override PartName="/ppt/theme/themeOverride1795.xml" ContentType="application/vnd.openxmlformats-officedocument.themeOverride+xml"/>
  <Override PartName="/ppt/theme/themeOverride1796.xml" ContentType="application/vnd.openxmlformats-officedocument.themeOverride+xml"/>
  <Override PartName="/ppt/theme/themeOverride1797.xml" ContentType="application/vnd.openxmlformats-officedocument.themeOverride+xml"/>
  <Override PartName="/ppt/theme/themeOverride1798.xml" ContentType="application/vnd.openxmlformats-officedocument.themeOverride+xml"/>
  <Override PartName="/ppt/theme/themeOverride1799.xml" ContentType="application/vnd.openxmlformats-officedocument.themeOverride+xml"/>
  <Override PartName="/ppt/theme/themeOverride18.xml" ContentType="application/vnd.openxmlformats-officedocument.themeOverride+xml"/>
  <Override PartName="/ppt/theme/themeOverride180.xml" ContentType="application/vnd.openxmlformats-officedocument.themeOverride+xml"/>
  <Override PartName="/ppt/theme/themeOverride1800.xml" ContentType="application/vnd.openxmlformats-officedocument.themeOverride+xml"/>
  <Override PartName="/ppt/theme/themeOverride1801.xml" ContentType="application/vnd.openxmlformats-officedocument.themeOverride+xml"/>
  <Override PartName="/ppt/theme/themeOverride1802.xml" ContentType="application/vnd.openxmlformats-officedocument.themeOverride+xml"/>
  <Override PartName="/ppt/theme/themeOverride1803.xml" ContentType="application/vnd.openxmlformats-officedocument.themeOverride+xml"/>
  <Override PartName="/ppt/theme/themeOverride1804.xml" ContentType="application/vnd.openxmlformats-officedocument.themeOverride+xml"/>
  <Override PartName="/ppt/theme/themeOverride1805.xml" ContentType="application/vnd.openxmlformats-officedocument.themeOverride+xml"/>
  <Override PartName="/ppt/theme/themeOverride1806.xml" ContentType="application/vnd.openxmlformats-officedocument.themeOverride+xml"/>
  <Override PartName="/ppt/theme/themeOverride1807.xml" ContentType="application/vnd.openxmlformats-officedocument.themeOverride+xml"/>
  <Override PartName="/ppt/theme/themeOverride1808.xml" ContentType="application/vnd.openxmlformats-officedocument.themeOverride+xml"/>
  <Override PartName="/ppt/theme/themeOverride1809.xml" ContentType="application/vnd.openxmlformats-officedocument.themeOverride+xml"/>
  <Override PartName="/ppt/theme/themeOverride181.xml" ContentType="application/vnd.openxmlformats-officedocument.themeOverride+xml"/>
  <Override PartName="/ppt/theme/themeOverride1810.xml" ContentType="application/vnd.openxmlformats-officedocument.themeOverride+xml"/>
  <Override PartName="/ppt/theme/themeOverride1811.xml" ContentType="application/vnd.openxmlformats-officedocument.themeOverride+xml"/>
  <Override PartName="/ppt/theme/themeOverride1812.xml" ContentType="application/vnd.openxmlformats-officedocument.themeOverride+xml"/>
  <Override PartName="/ppt/theme/themeOverride1813.xml" ContentType="application/vnd.openxmlformats-officedocument.themeOverride+xml"/>
  <Override PartName="/ppt/theme/themeOverride1814.xml" ContentType="application/vnd.openxmlformats-officedocument.themeOverride+xml"/>
  <Override PartName="/ppt/theme/themeOverride1815.xml" ContentType="application/vnd.openxmlformats-officedocument.themeOverride+xml"/>
  <Override PartName="/ppt/theme/themeOverride1816.xml" ContentType="application/vnd.openxmlformats-officedocument.themeOverride+xml"/>
  <Override PartName="/ppt/theme/themeOverride1817.xml" ContentType="application/vnd.openxmlformats-officedocument.themeOverride+xml"/>
  <Override PartName="/ppt/theme/themeOverride1818.xml" ContentType="application/vnd.openxmlformats-officedocument.themeOverride+xml"/>
  <Override PartName="/ppt/theme/themeOverride1819.xml" ContentType="application/vnd.openxmlformats-officedocument.themeOverride+xml"/>
  <Override PartName="/ppt/theme/themeOverride182.xml" ContentType="application/vnd.openxmlformats-officedocument.themeOverride+xml"/>
  <Override PartName="/ppt/theme/themeOverride1820.xml" ContentType="application/vnd.openxmlformats-officedocument.themeOverride+xml"/>
  <Override PartName="/ppt/theme/themeOverride1821.xml" ContentType="application/vnd.openxmlformats-officedocument.themeOverride+xml"/>
  <Override PartName="/ppt/theme/themeOverride1822.xml" ContentType="application/vnd.openxmlformats-officedocument.themeOverride+xml"/>
  <Override PartName="/ppt/theme/themeOverride1823.xml" ContentType="application/vnd.openxmlformats-officedocument.themeOverride+xml"/>
  <Override PartName="/ppt/theme/themeOverride1824.xml" ContentType="application/vnd.openxmlformats-officedocument.themeOverride+xml"/>
  <Override PartName="/ppt/theme/themeOverride1825.xml" ContentType="application/vnd.openxmlformats-officedocument.themeOverride+xml"/>
  <Override PartName="/ppt/theme/themeOverride1826.xml" ContentType="application/vnd.openxmlformats-officedocument.themeOverride+xml"/>
  <Override PartName="/ppt/theme/themeOverride1827.xml" ContentType="application/vnd.openxmlformats-officedocument.themeOverride+xml"/>
  <Override PartName="/ppt/theme/themeOverride1828.xml" ContentType="application/vnd.openxmlformats-officedocument.themeOverride+xml"/>
  <Override PartName="/ppt/theme/themeOverride1829.xml" ContentType="application/vnd.openxmlformats-officedocument.themeOverride+xml"/>
  <Override PartName="/ppt/theme/themeOverride183.xml" ContentType="application/vnd.openxmlformats-officedocument.themeOverride+xml"/>
  <Override PartName="/ppt/theme/themeOverride1830.xml" ContentType="application/vnd.openxmlformats-officedocument.themeOverride+xml"/>
  <Override PartName="/ppt/theme/themeOverride1831.xml" ContentType="application/vnd.openxmlformats-officedocument.themeOverride+xml"/>
  <Override PartName="/ppt/theme/themeOverride1832.xml" ContentType="application/vnd.openxmlformats-officedocument.themeOverride+xml"/>
  <Override PartName="/ppt/theme/themeOverride1833.xml" ContentType="application/vnd.openxmlformats-officedocument.themeOverride+xml"/>
  <Override PartName="/ppt/theme/themeOverride1834.xml" ContentType="application/vnd.openxmlformats-officedocument.themeOverride+xml"/>
  <Override PartName="/ppt/theme/themeOverride1835.xml" ContentType="application/vnd.openxmlformats-officedocument.themeOverride+xml"/>
  <Override PartName="/ppt/theme/themeOverride1836.xml" ContentType="application/vnd.openxmlformats-officedocument.themeOverride+xml"/>
  <Override PartName="/ppt/theme/themeOverride1837.xml" ContentType="application/vnd.openxmlformats-officedocument.themeOverride+xml"/>
  <Override PartName="/ppt/theme/themeOverride1838.xml" ContentType="application/vnd.openxmlformats-officedocument.themeOverride+xml"/>
  <Override PartName="/ppt/theme/themeOverride1839.xml" ContentType="application/vnd.openxmlformats-officedocument.themeOverride+xml"/>
  <Override PartName="/ppt/theme/themeOverride184.xml" ContentType="application/vnd.openxmlformats-officedocument.themeOverride+xml"/>
  <Override PartName="/ppt/theme/themeOverride1840.xml" ContentType="application/vnd.openxmlformats-officedocument.themeOverride+xml"/>
  <Override PartName="/ppt/theme/themeOverride1841.xml" ContentType="application/vnd.openxmlformats-officedocument.themeOverride+xml"/>
  <Override PartName="/ppt/theme/themeOverride1842.xml" ContentType="application/vnd.openxmlformats-officedocument.themeOverride+xml"/>
  <Override PartName="/ppt/theme/themeOverride1843.xml" ContentType="application/vnd.openxmlformats-officedocument.themeOverride+xml"/>
  <Override PartName="/ppt/theme/themeOverride1844.xml" ContentType="application/vnd.openxmlformats-officedocument.themeOverride+xml"/>
  <Override PartName="/ppt/theme/themeOverride1845.xml" ContentType="application/vnd.openxmlformats-officedocument.themeOverride+xml"/>
  <Override PartName="/ppt/theme/themeOverride1846.xml" ContentType="application/vnd.openxmlformats-officedocument.themeOverride+xml"/>
  <Override PartName="/ppt/theme/themeOverride1847.xml" ContentType="application/vnd.openxmlformats-officedocument.themeOverride+xml"/>
  <Override PartName="/ppt/theme/themeOverride1848.xml" ContentType="application/vnd.openxmlformats-officedocument.themeOverride+xml"/>
  <Override PartName="/ppt/theme/themeOverride1849.xml" ContentType="application/vnd.openxmlformats-officedocument.themeOverride+xml"/>
  <Override PartName="/ppt/theme/themeOverride185.xml" ContentType="application/vnd.openxmlformats-officedocument.themeOverride+xml"/>
  <Override PartName="/ppt/theme/themeOverride1850.xml" ContentType="application/vnd.openxmlformats-officedocument.themeOverride+xml"/>
  <Override PartName="/ppt/theme/themeOverride1851.xml" ContentType="application/vnd.openxmlformats-officedocument.themeOverride+xml"/>
  <Override PartName="/ppt/theme/themeOverride1852.xml" ContentType="application/vnd.openxmlformats-officedocument.themeOverride+xml"/>
  <Override PartName="/ppt/theme/themeOverride1853.xml" ContentType="application/vnd.openxmlformats-officedocument.themeOverride+xml"/>
  <Override PartName="/ppt/theme/themeOverride1854.xml" ContentType="application/vnd.openxmlformats-officedocument.themeOverride+xml"/>
  <Override PartName="/ppt/theme/themeOverride1855.xml" ContentType="application/vnd.openxmlformats-officedocument.themeOverride+xml"/>
  <Override PartName="/ppt/theme/themeOverride1856.xml" ContentType="application/vnd.openxmlformats-officedocument.themeOverride+xml"/>
  <Override PartName="/ppt/theme/themeOverride1857.xml" ContentType="application/vnd.openxmlformats-officedocument.themeOverride+xml"/>
  <Override PartName="/ppt/theme/themeOverride1858.xml" ContentType="application/vnd.openxmlformats-officedocument.themeOverride+xml"/>
  <Override PartName="/ppt/theme/themeOverride1859.xml" ContentType="application/vnd.openxmlformats-officedocument.themeOverride+xml"/>
  <Override PartName="/ppt/theme/themeOverride186.xml" ContentType="application/vnd.openxmlformats-officedocument.themeOverride+xml"/>
  <Override PartName="/ppt/theme/themeOverride1860.xml" ContentType="application/vnd.openxmlformats-officedocument.themeOverride+xml"/>
  <Override PartName="/ppt/theme/themeOverride1861.xml" ContentType="application/vnd.openxmlformats-officedocument.themeOverride+xml"/>
  <Override PartName="/ppt/theme/themeOverride1862.xml" ContentType="application/vnd.openxmlformats-officedocument.themeOverride+xml"/>
  <Override PartName="/ppt/theme/themeOverride1863.xml" ContentType="application/vnd.openxmlformats-officedocument.themeOverride+xml"/>
  <Override PartName="/ppt/theme/themeOverride1864.xml" ContentType="application/vnd.openxmlformats-officedocument.themeOverride+xml"/>
  <Override PartName="/ppt/theme/themeOverride1865.xml" ContentType="application/vnd.openxmlformats-officedocument.themeOverride+xml"/>
  <Override PartName="/ppt/theme/themeOverride1866.xml" ContentType="application/vnd.openxmlformats-officedocument.themeOverride+xml"/>
  <Override PartName="/ppt/theme/themeOverride1867.xml" ContentType="application/vnd.openxmlformats-officedocument.themeOverride+xml"/>
  <Override PartName="/ppt/theme/themeOverride1868.xml" ContentType="application/vnd.openxmlformats-officedocument.themeOverride+xml"/>
  <Override PartName="/ppt/theme/themeOverride1869.xml" ContentType="application/vnd.openxmlformats-officedocument.themeOverride+xml"/>
  <Override PartName="/ppt/theme/themeOverride187.xml" ContentType="application/vnd.openxmlformats-officedocument.themeOverride+xml"/>
  <Override PartName="/ppt/theme/themeOverride1870.xml" ContentType="application/vnd.openxmlformats-officedocument.themeOverride+xml"/>
  <Override PartName="/ppt/theme/themeOverride1871.xml" ContentType="application/vnd.openxmlformats-officedocument.themeOverride+xml"/>
  <Override PartName="/ppt/theme/themeOverride1872.xml" ContentType="application/vnd.openxmlformats-officedocument.themeOverride+xml"/>
  <Override PartName="/ppt/theme/themeOverride1873.xml" ContentType="application/vnd.openxmlformats-officedocument.themeOverride+xml"/>
  <Override PartName="/ppt/theme/themeOverride1874.xml" ContentType="application/vnd.openxmlformats-officedocument.themeOverride+xml"/>
  <Override PartName="/ppt/theme/themeOverride1875.xml" ContentType="application/vnd.openxmlformats-officedocument.themeOverride+xml"/>
  <Override PartName="/ppt/theme/themeOverride1876.xml" ContentType="application/vnd.openxmlformats-officedocument.themeOverride+xml"/>
  <Override PartName="/ppt/theme/themeOverride1877.xml" ContentType="application/vnd.openxmlformats-officedocument.themeOverride+xml"/>
  <Override PartName="/ppt/theme/themeOverride1878.xml" ContentType="application/vnd.openxmlformats-officedocument.themeOverride+xml"/>
  <Override PartName="/ppt/theme/themeOverride1879.xml" ContentType="application/vnd.openxmlformats-officedocument.themeOverride+xml"/>
  <Override PartName="/ppt/theme/themeOverride188.xml" ContentType="application/vnd.openxmlformats-officedocument.themeOverride+xml"/>
  <Override PartName="/ppt/theme/themeOverride1880.xml" ContentType="application/vnd.openxmlformats-officedocument.themeOverride+xml"/>
  <Override PartName="/ppt/theme/themeOverride1881.xml" ContentType="application/vnd.openxmlformats-officedocument.themeOverride+xml"/>
  <Override PartName="/ppt/theme/themeOverride1882.xml" ContentType="application/vnd.openxmlformats-officedocument.themeOverride+xml"/>
  <Override PartName="/ppt/theme/themeOverride1883.xml" ContentType="application/vnd.openxmlformats-officedocument.themeOverride+xml"/>
  <Override PartName="/ppt/theme/themeOverride1884.xml" ContentType="application/vnd.openxmlformats-officedocument.themeOverride+xml"/>
  <Override PartName="/ppt/theme/themeOverride1885.xml" ContentType="application/vnd.openxmlformats-officedocument.themeOverride+xml"/>
  <Override PartName="/ppt/theme/themeOverride1886.xml" ContentType="application/vnd.openxmlformats-officedocument.themeOverride+xml"/>
  <Override PartName="/ppt/theme/themeOverride1887.xml" ContentType="application/vnd.openxmlformats-officedocument.themeOverride+xml"/>
  <Override PartName="/ppt/theme/themeOverride1888.xml" ContentType="application/vnd.openxmlformats-officedocument.themeOverride+xml"/>
  <Override PartName="/ppt/theme/themeOverride1889.xml" ContentType="application/vnd.openxmlformats-officedocument.themeOverride+xml"/>
  <Override PartName="/ppt/theme/themeOverride189.xml" ContentType="application/vnd.openxmlformats-officedocument.themeOverride+xml"/>
  <Override PartName="/ppt/theme/themeOverride1890.xml" ContentType="application/vnd.openxmlformats-officedocument.themeOverride+xml"/>
  <Override PartName="/ppt/theme/themeOverride1891.xml" ContentType="application/vnd.openxmlformats-officedocument.themeOverride+xml"/>
  <Override PartName="/ppt/theme/themeOverride1892.xml" ContentType="application/vnd.openxmlformats-officedocument.themeOverride+xml"/>
  <Override PartName="/ppt/theme/themeOverride1893.xml" ContentType="application/vnd.openxmlformats-officedocument.themeOverride+xml"/>
  <Override PartName="/ppt/theme/themeOverride1894.xml" ContentType="application/vnd.openxmlformats-officedocument.themeOverride+xml"/>
  <Override PartName="/ppt/theme/themeOverride1895.xml" ContentType="application/vnd.openxmlformats-officedocument.themeOverride+xml"/>
  <Override PartName="/ppt/theme/themeOverride1896.xml" ContentType="application/vnd.openxmlformats-officedocument.themeOverride+xml"/>
  <Override PartName="/ppt/theme/themeOverride1897.xml" ContentType="application/vnd.openxmlformats-officedocument.themeOverride+xml"/>
  <Override PartName="/ppt/theme/themeOverride1898.xml" ContentType="application/vnd.openxmlformats-officedocument.themeOverride+xml"/>
  <Override PartName="/ppt/theme/themeOverride1899.xml" ContentType="application/vnd.openxmlformats-officedocument.themeOverride+xml"/>
  <Override PartName="/ppt/theme/themeOverride19.xml" ContentType="application/vnd.openxmlformats-officedocument.themeOverride+xml"/>
  <Override PartName="/ppt/theme/themeOverride190.xml" ContentType="application/vnd.openxmlformats-officedocument.themeOverride+xml"/>
  <Override PartName="/ppt/theme/themeOverride1900.xml" ContentType="application/vnd.openxmlformats-officedocument.themeOverride+xml"/>
  <Override PartName="/ppt/theme/themeOverride1901.xml" ContentType="application/vnd.openxmlformats-officedocument.themeOverride+xml"/>
  <Override PartName="/ppt/theme/themeOverride1902.xml" ContentType="application/vnd.openxmlformats-officedocument.themeOverride+xml"/>
  <Override PartName="/ppt/theme/themeOverride1903.xml" ContentType="application/vnd.openxmlformats-officedocument.themeOverride+xml"/>
  <Override PartName="/ppt/theme/themeOverride1904.xml" ContentType="application/vnd.openxmlformats-officedocument.themeOverride+xml"/>
  <Override PartName="/ppt/theme/themeOverride1905.xml" ContentType="application/vnd.openxmlformats-officedocument.themeOverride+xml"/>
  <Override PartName="/ppt/theme/themeOverride1906.xml" ContentType="application/vnd.openxmlformats-officedocument.themeOverride+xml"/>
  <Override PartName="/ppt/theme/themeOverride1907.xml" ContentType="application/vnd.openxmlformats-officedocument.themeOverride+xml"/>
  <Override PartName="/ppt/theme/themeOverride1908.xml" ContentType="application/vnd.openxmlformats-officedocument.themeOverride+xml"/>
  <Override PartName="/ppt/theme/themeOverride1909.xml" ContentType="application/vnd.openxmlformats-officedocument.themeOverride+xml"/>
  <Override PartName="/ppt/theme/themeOverride191.xml" ContentType="application/vnd.openxmlformats-officedocument.themeOverride+xml"/>
  <Override PartName="/ppt/theme/themeOverride1910.xml" ContentType="application/vnd.openxmlformats-officedocument.themeOverride+xml"/>
  <Override PartName="/ppt/theme/themeOverride1911.xml" ContentType="application/vnd.openxmlformats-officedocument.themeOverride+xml"/>
  <Override PartName="/ppt/theme/themeOverride1912.xml" ContentType="application/vnd.openxmlformats-officedocument.themeOverride+xml"/>
  <Override PartName="/ppt/theme/themeOverride1913.xml" ContentType="application/vnd.openxmlformats-officedocument.themeOverride+xml"/>
  <Override PartName="/ppt/theme/themeOverride1914.xml" ContentType="application/vnd.openxmlformats-officedocument.themeOverride+xml"/>
  <Override PartName="/ppt/theme/themeOverride1915.xml" ContentType="application/vnd.openxmlformats-officedocument.themeOverride+xml"/>
  <Override PartName="/ppt/theme/themeOverride1916.xml" ContentType="application/vnd.openxmlformats-officedocument.themeOverride+xml"/>
  <Override PartName="/ppt/theme/themeOverride1917.xml" ContentType="application/vnd.openxmlformats-officedocument.themeOverride+xml"/>
  <Override PartName="/ppt/theme/themeOverride1918.xml" ContentType="application/vnd.openxmlformats-officedocument.themeOverride+xml"/>
  <Override PartName="/ppt/theme/themeOverride1919.xml" ContentType="application/vnd.openxmlformats-officedocument.themeOverride+xml"/>
  <Override PartName="/ppt/theme/themeOverride192.xml" ContentType="application/vnd.openxmlformats-officedocument.themeOverride+xml"/>
  <Override PartName="/ppt/theme/themeOverride1920.xml" ContentType="application/vnd.openxmlformats-officedocument.themeOverride+xml"/>
  <Override PartName="/ppt/theme/themeOverride1921.xml" ContentType="application/vnd.openxmlformats-officedocument.themeOverride+xml"/>
  <Override PartName="/ppt/theme/themeOverride1922.xml" ContentType="application/vnd.openxmlformats-officedocument.themeOverride+xml"/>
  <Override PartName="/ppt/theme/themeOverride1923.xml" ContentType="application/vnd.openxmlformats-officedocument.themeOverride+xml"/>
  <Override PartName="/ppt/theme/themeOverride1924.xml" ContentType="application/vnd.openxmlformats-officedocument.themeOverride+xml"/>
  <Override PartName="/ppt/theme/themeOverride1925.xml" ContentType="application/vnd.openxmlformats-officedocument.themeOverride+xml"/>
  <Override PartName="/ppt/theme/themeOverride1926.xml" ContentType="application/vnd.openxmlformats-officedocument.themeOverride+xml"/>
  <Override PartName="/ppt/theme/themeOverride1927.xml" ContentType="application/vnd.openxmlformats-officedocument.themeOverride+xml"/>
  <Override PartName="/ppt/theme/themeOverride1928.xml" ContentType="application/vnd.openxmlformats-officedocument.themeOverride+xml"/>
  <Override PartName="/ppt/theme/themeOverride1929.xml" ContentType="application/vnd.openxmlformats-officedocument.themeOverride+xml"/>
  <Override PartName="/ppt/theme/themeOverride193.xml" ContentType="application/vnd.openxmlformats-officedocument.themeOverride+xml"/>
  <Override PartName="/ppt/theme/themeOverride1930.xml" ContentType="application/vnd.openxmlformats-officedocument.themeOverride+xml"/>
  <Override PartName="/ppt/theme/themeOverride1931.xml" ContentType="application/vnd.openxmlformats-officedocument.themeOverride+xml"/>
  <Override PartName="/ppt/theme/themeOverride1932.xml" ContentType="application/vnd.openxmlformats-officedocument.themeOverride+xml"/>
  <Override PartName="/ppt/theme/themeOverride1933.xml" ContentType="application/vnd.openxmlformats-officedocument.themeOverride+xml"/>
  <Override PartName="/ppt/theme/themeOverride1934.xml" ContentType="application/vnd.openxmlformats-officedocument.themeOverride+xml"/>
  <Override PartName="/ppt/theme/themeOverride1935.xml" ContentType="application/vnd.openxmlformats-officedocument.themeOverride+xml"/>
  <Override PartName="/ppt/theme/themeOverride1936.xml" ContentType="application/vnd.openxmlformats-officedocument.themeOverride+xml"/>
  <Override PartName="/ppt/theme/themeOverride1937.xml" ContentType="application/vnd.openxmlformats-officedocument.themeOverride+xml"/>
  <Override PartName="/ppt/theme/themeOverride1938.xml" ContentType="application/vnd.openxmlformats-officedocument.themeOverride+xml"/>
  <Override PartName="/ppt/theme/themeOverride1939.xml" ContentType="application/vnd.openxmlformats-officedocument.themeOverride+xml"/>
  <Override PartName="/ppt/theme/themeOverride194.xml" ContentType="application/vnd.openxmlformats-officedocument.themeOverride+xml"/>
  <Override PartName="/ppt/theme/themeOverride1940.xml" ContentType="application/vnd.openxmlformats-officedocument.themeOverride+xml"/>
  <Override PartName="/ppt/theme/themeOverride1941.xml" ContentType="application/vnd.openxmlformats-officedocument.themeOverride+xml"/>
  <Override PartName="/ppt/theme/themeOverride1942.xml" ContentType="application/vnd.openxmlformats-officedocument.themeOverride+xml"/>
  <Override PartName="/ppt/theme/themeOverride1943.xml" ContentType="application/vnd.openxmlformats-officedocument.themeOverride+xml"/>
  <Override PartName="/ppt/theme/themeOverride1944.xml" ContentType="application/vnd.openxmlformats-officedocument.themeOverride+xml"/>
  <Override PartName="/ppt/theme/themeOverride1945.xml" ContentType="application/vnd.openxmlformats-officedocument.themeOverride+xml"/>
  <Override PartName="/ppt/theme/themeOverride1946.xml" ContentType="application/vnd.openxmlformats-officedocument.themeOverride+xml"/>
  <Override PartName="/ppt/theme/themeOverride1947.xml" ContentType="application/vnd.openxmlformats-officedocument.themeOverride+xml"/>
  <Override PartName="/ppt/theme/themeOverride1948.xml" ContentType="application/vnd.openxmlformats-officedocument.themeOverride+xml"/>
  <Override PartName="/ppt/theme/themeOverride1949.xml" ContentType="application/vnd.openxmlformats-officedocument.themeOverride+xml"/>
  <Override PartName="/ppt/theme/themeOverride195.xml" ContentType="application/vnd.openxmlformats-officedocument.themeOverride+xml"/>
  <Override PartName="/ppt/theme/themeOverride1950.xml" ContentType="application/vnd.openxmlformats-officedocument.themeOverride+xml"/>
  <Override PartName="/ppt/theme/themeOverride1951.xml" ContentType="application/vnd.openxmlformats-officedocument.themeOverride+xml"/>
  <Override PartName="/ppt/theme/themeOverride1952.xml" ContentType="application/vnd.openxmlformats-officedocument.themeOverride+xml"/>
  <Override PartName="/ppt/theme/themeOverride1953.xml" ContentType="application/vnd.openxmlformats-officedocument.themeOverride+xml"/>
  <Override PartName="/ppt/theme/themeOverride1954.xml" ContentType="application/vnd.openxmlformats-officedocument.themeOverride+xml"/>
  <Override PartName="/ppt/theme/themeOverride1955.xml" ContentType="application/vnd.openxmlformats-officedocument.themeOverride+xml"/>
  <Override PartName="/ppt/theme/themeOverride1956.xml" ContentType="application/vnd.openxmlformats-officedocument.themeOverride+xml"/>
  <Override PartName="/ppt/theme/themeOverride1957.xml" ContentType="application/vnd.openxmlformats-officedocument.themeOverride+xml"/>
  <Override PartName="/ppt/theme/themeOverride1958.xml" ContentType="application/vnd.openxmlformats-officedocument.themeOverride+xml"/>
  <Override PartName="/ppt/theme/themeOverride1959.xml" ContentType="application/vnd.openxmlformats-officedocument.themeOverride+xml"/>
  <Override PartName="/ppt/theme/themeOverride196.xml" ContentType="application/vnd.openxmlformats-officedocument.themeOverride+xml"/>
  <Override PartName="/ppt/theme/themeOverride1960.xml" ContentType="application/vnd.openxmlformats-officedocument.themeOverride+xml"/>
  <Override PartName="/ppt/theme/themeOverride1961.xml" ContentType="application/vnd.openxmlformats-officedocument.themeOverride+xml"/>
  <Override PartName="/ppt/theme/themeOverride1962.xml" ContentType="application/vnd.openxmlformats-officedocument.themeOverride+xml"/>
  <Override PartName="/ppt/theme/themeOverride1963.xml" ContentType="application/vnd.openxmlformats-officedocument.themeOverride+xml"/>
  <Override PartName="/ppt/theme/themeOverride1964.xml" ContentType="application/vnd.openxmlformats-officedocument.themeOverride+xml"/>
  <Override PartName="/ppt/theme/themeOverride1965.xml" ContentType="application/vnd.openxmlformats-officedocument.themeOverride+xml"/>
  <Override PartName="/ppt/theme/themeOverride1966.xml" ContentType="application/vnd.openxmlformats-officedocument.themeOverride+xml"/>
  <Override PartName="/ppt/theme/themeOverride1967.xml" ContentType="application/vnd.openxmlformats-officedocument.themeOverride+xml"/>
  <Override PartName="/ppt/theme/themeOverride1968.xml" ContentType="application/vnd.openxmlformats-officedocument.themeOverride+xml"/>
  <Override PartName="/ppt/theme/themeOverride1969.xml" ContentType="application/vnd.openxmlformats-officedocument.themeOverride+xml"/>
  <Override PartName="/ppt/theme/themeOverride197.xml" ContentType="application/vnd.openxmlformats-officedocument.themeOverride+xml"/>
  <Override PartName="/ppt/theme/themeOverride1970.xml" ContentType="application/vnd.openxmlformats-officedocument.themeOverride+xml"/>
  <Override PartName="/ppt/theme/themeOverride1971.xml" ContentType="application/vnd.openxmlformats-officedocument.themeOverride+xml"/>
  <Override PartName="/ppt/theme/themeOverride1972.xml" ContentType="application/vnd.openxmlformats-officedocument.themeOverride+xml"/>
  <Override PartName="/ppt/theme/themeOverride1973.xml" ContentType="application/vnd.openxmlformats-officedocument.themeOverride+xml"/>
  <Override PartName="/ppt/theme/themeOverride1974.xml" ContentType="application/vnd.openxmlformats-officedocument.themeOverride+xml"/>
  <Override PartName="/ppt/theme/themeOverride1975.xml" ContentType="application/vnd.openxmlformats-officedocument.themeOverride+xml"/>
  <Override PartName="/ppt/theme/themeOverride1976.xml" ContentType="application/vnd.openxmlformats-officedocument.themeOverride+xml"/>
  <Override PartName="/ppt/theme/themeOverride1977.xml" ContentType="application/vnd.openxmlformats-officedocument.themeOverride+xml"/>
  <Override PartName="/ppt/theme/themeOverride1978.xml" ContentType="application/vnd.openxmlformats-officedocument.themeOverride+xml"/>
  <Override PartName="/ppt/theme/themeOverride1979.xml" ContentType="application/vnd.openxmlformats-officedocument.themeOverride+xml"/>
  <Override PartName="/ppt/theme/themeOverride198.xml" ContentType="application/vnd.openxmlformats-officedocument.themeOverride+xml"/>
  <Override PartName="/ppt/theme/themeOverride1980.xml" ContentType="application/vnd.openxmlformats-officedocument.themeOverride+xml"/>
  <Override PartName="/ppt/theme/themeOverride1981.xml" ContentType="application/vnd.openxmlformats-officedocument.themeOverride+xml"/>
  <Override PartName="/ppt/theme/themeOverride1982.xml" ContentType="application/vnd.openxmlformats-officedocument.themeOverride+xml"/>
  <Override PartName="/ppt/theme/themeOverride1983.xml" ContentType="application/vnd.openxmlformats-officedocument.themeOverride+xml"/>
  <Override PartName="/ppt/theme/themeOverride1984.xml" ContentType="application/vnd.openxmlformats-officedocument.themeOverride+xml"/>
  <Override PartName="/ppt/theme/themeOverride1985.xml" ContentType="application/vnd.openxmlformats-officedocument.themeOverride+xml"/>
  <Override PartName="/ppt/theme/themeOverride1986.xml" ContentType="application/vnd.openxmlformats-officedocument.themeOverride+xml"/>
  <Override PartName="/ppt/theme/themeOverride1987.xml" ContentType="application/vnd.openxmlformats-officedocument.themeOverride+xml"/>
  <Override PartName="/ppt/theme/themeOverride1988.xml" ContentType="application/vnd.openxmlformats-officedocument.themeOverride+xml"/>
  <Override PartName="/ppt/theme/themeOverride1989.xml" ContentType="application/vnd.openxmlformats-officedocument.themeOverride+xml"/>
  <Override PartName="/ppt/theme/themeOverride199.xml" ContentType="application/vnd.openxmlformats-officedocument.themeOverride+xml"/>
  <Override PartName="/ppt/theme/themeOverride1990.xml" ContentType="application/vnd.openxmlformats-officedocument.themeOverride+xml"/>
  <Override PartName="/ppt/theme/themeOverride1991.xml" ContentType="application/vnd.openxmlformats-officedocument.themeOverride+xml"/>
  <Override PartName="/ppt/theme/themeOverride1992.xml" ContentType="application/vnd.openxmlformats-officedocument.themeOverride+xml"/>
  <Override PartName="/ppt/theme/themeOverride1993.xml" ContentType="application/vnd.openxmlformats-officedocument.themeOverride+xml"/>
  <Override PartName="/ppt/theme/themeOverride1994.xml" ContentType="application/vnd.openxmlformats-officedocument.themeOverride+xml"/>
  <Override PartName="/ppt/theme/themeOverride1995.xml" ContentType="application/vnd.openxmlformats-officedocument.themeOverride+xml"/>
  <Override PartName="/ppt/theme/themeOverride1996.xml" ContentType="application/vnd.openxmlformats-officedocument.themeOverride+xml"/>
  <Override PartName="/ppt/theme/themeOverride1997.xml" ContentType="application/vnd.openxmlformats-officedocument.themeOverride+xml"/>
  <Override PartName="/ppt/theme/themeOverride1998.xml" ContentType="application/vnd.openxmlformats-officedocument.themeOverride+xml"/>
  <Override PartName="/ppt/theme/themeOverride199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00.xml" ContentType="application/vnd.openxmlformats-officedocument.themeOverride+xml"/>
  <Override PartName="/ppt/theme/themeOverride2000.xml" ContentType="application/vnd.openxmlformats-officedocument.themeOverride+xml"/>
  <Override PartName="/ppt/theme/themeOverride2001.xml" ContentType="application/vnd.openxmlformats-officedocument.themeOverride+xml"/>
  <Override PartName="/ppt/theme/themeOverride2002.xml" ContentType="application/vnd.openxmlformats-officedocument.themeOverride+xml"/>
  <Override PartName="/ppt/theme/themeOverride2003.xml" ContentType="application/vnd.openxmlformats-officedocument.themeOverride+xml"/>
  <Override PartName="/ppt/theme/themeOverride2004.xml" ContentType="application/vnd.openxmlformats-officedocument.themeOverride+xml"/>
  <Override PartName="/ppt/theme/themeOverride2005.xml" ContentType="application/vnd.openxmlformats-officedocument.themeOverride+xml"/>
  <Override PartName="/ppt/theme/themeOverride2006.xml" ContentType="application/vnd.openxmlformats-officedocument.themeOverride+xml"/>
  <Override PartName="/ppt/theme/themeOverride2007.xml" ContentType="application/vnd.openxmlformats-officedocument.themeOverride+xml"/>
  <Override PartName="/ppt/theme/themeOverride2008.xml" ContentType="application/vnd.openxmlformats-officedocument.themeOverride+xml"/>
  <Override PartName="/ppt/theme/themeOverride2009.xml" ContentType="application/vnd.openxmlformats-officedocument.themeOverride+xml"/>
  <Override PartName="/ppt/theme/themeOverride201.xml" ContentType="application/vnd.openxmlformats-officedocument.themeOverride+xml"/>
  <Override PartName="/ppt/theme/themeOverride2010.xml" ContentType="application/vnd.openxmlformats-officedocument.themeOverride+xml"/>
  <Override PartName="/ppt/theme/themeOverride2011.xml" ContentType="application/vnd.openxmlformats-officedocument.themeOverride+xml"/>
  <Override PartName="/ppt/theme/themeOverride2012.xml" ContentType="application/vnd.openxmlformats-officedocument.themeOverride+xml"/>
  <Override PartName="/ppt/theme/themeOverride2013.xml" ContentType="application/vnd.openxmlformats-officedocument.themeOverride+xml"/>
  <Override PartName="/ppt/theme/themeOverride2014.xml" ContentType="application/vnd.openxmlformats-officedocument.themeOverride+xml"/>
  <Override PartName="/ppt/theme/themeOverride2015.xml" ContentType="application/vnd.openxmlformats-officedocument.themeOverride+xml"/>
  <Override PartName="/ppt/theme/themeOverride2016.xml" ContentType="application/vnd.openxmlformats-officedocument.themeOverride+xml"/>
  <Override PartName="/ppt/theme/themeOverride2017.xml" ContentType="application/vnd.openxmlformats-officedocument.themeOverride+xml"/>
  <Override PartName="/ppt/theme/themeOverride2018.xml" ContentType="application/vnd.openxmlformats-officedocument.themeOverride+xml"/>
  <Override PartName="/ppt/theme/themeOverride2019.xml" ContentType="application/vnd.openxmlformats-officedocument.themeOverride+xml"/>
  <Override PartName="/ppt/theme/themeOverride202.xml" ContentType="application/vnd.openxmlformats-officedocument.themeOverride+xml"/>
  <Override PartName="/ppt/theme/themeOverride2020.xml" ContentType="application/vnd.openxmlformats-officedocument.themeOverride+xml"/>
  <Override PartName="/ppt/theme/themeOverride2021.xml" ContentType="application/vnd.openxmlformats-officedocument.themeOverride+xml"/>
  <Override PartName="/ppt/theme/themeOverride2022.xml" ContentType="application/vnd.openxmlformats-officedocument.themeOverride+xml"/>
  <Override PartName="/ppt/theme/themeOverride2023.xml" ContentType="application/vnd.openxmlformats-officedocument.themeOverride+xml"/>
  <Override PartName="/ppt/theme/themeOverride2024.xml" ContentType="application/vnd.openxmlformats-officedocument.themeOverride+xml"/>
  <Override PartName="/ppt/theme/themeOverride2025.xml" ContentType="application/vnd.openxmlformats-officedocument.themeOverride+xml"/>
  <Override PartName="/ppt/theme/themeOverride2026.xml" ContentType="application/vnd.openxmlformats-officedocument.themeOverride+xml"/>
  <Override PartName="/ppt/theme/themeOverride2027.xml" ContentType="application/vnd.openxmlformats-officedocument.themeOverride+xml"/>
  <Override PartName="/ppt/theme/themeOverride2028.xml" ContentType="application/vnd.openxmlformats-officedocument.themeOverride+xml"/>
  <Override PartName="/ppt/theme/themeOverride2029.xml" ContentType="application/vnd.openxmlformats-officedocument.themeOverride+xml"/>
  <Override PartName="/ppt/theme/themeOverride203.xml" ContentType="application/vnd.openxmlformats-officedocument.themeOverride+xml"/>
  <Override PartName="/ppt/theme/themeOverride2030.xml" ContentType="application/vnd.openxmlformats-officedocument.themeOverride+xml"/>
  <Override PartName="/ppt/theme/themeOverride2031.xml" ContentType="application/vnd.openxmlformats-officedocument.themeOverride+xml"/>
  <Override PartName="/ppt/theme/themeOverride2032.xml" ContentType="application/vnd.openxmlformats-officedocument.themeOverride+xml"/>
  <Override PartName="/ppt/theme/themeOverride2033.xml" ContentType="application/vnd.openxmlformats-officedocument.themeOverride+xml"/>
  <Override PartName="/ppt/theme/themeOverride2034.xml" ContentType="application/vnd.openxmlformats-officedocument.themeOverride+xml"/>
  <Override PartName="/ppt/theme/themeOverride2035.xml" ContentType="application/vnd.openxmlformats-officedocument.themeOverride+xml"/>
  <Override PartName="/ppt/theme/themeOverride2036.xml" ContentType="application/vnd.openxmlformats-officedocument.themeOverride+xml"/>
  <Override PartName="/ppt/theme/themeOverride2037.xml" ContentType="application/vnd.openxmlformats-officedocument.themeOverride+xml"/>
  <Override PartName="/ppt/theme/themeOverride2038.xml" ContentType="application/vnd.openxmlformats-officedocument.themeOverride+xml"/>
  <Override PartName="/ppt/theme/themeOverride2039.xml" ContentType="application/vnd.openxmlformats-officedocument.themeOverride+xml"/>
  <Override PartName="/ppt/theme/themeOverride204.xml" ContentType="application/vnd.openxmlformats-officedocument.themeOverride+xml"/>
  <Override PartName="/ppt/theme/themeOverride2040.xml" ContentType="application/vnd.openxmlformats-officedocument.themeOverride+xml"/>
  <Override PartName="/ppt/theme/themeOverride2041.xml" ContentType="application/vnd.openxmlformats-officedocument.themeOverride+xml"/>
  <Override PartName="/ppt/theme/themeOverride2042.xml" ContentType="application/vnd.openxmlformats-officedocument.themeOverride+xml"/>
  <Override PartName="/ppt/theme/themeOverride2043.xml" ContentType="application/vnd.openxmlformats-officedocument.themeOverride+xml"/>
  <Override PartName="/ppt/theme/themeOverride2044.xml" ContentType="application/vnd.openxmlformats-officedocument.themeOverride+xml"/>
  <Override PartName="/ppt/theme/themeOverride2045.xml" ContentType="application/vnd.openxmlformats-officedocument.themeOverride+xml"/>
  <Override PartName="/ppt/theme/themeOverride2046.xml" ContentType="application/vnd.openxmlformats-officedocument.themeOverride+xml"/>
  <Override PartName="/ppt/theme/themeOverride2047.xml" ContentType="application/vnd.openxmlformats-officedocument.themeOverride+xml"/>
  <Override PartName="/ppt/theme/themeOverride2048.xml" ContentType="application/vnd.openxmlformats-officedocument.themeOverride+xml"/>
  <Override PartName="/ppt/theme/themeOverride2049.xml" ContentType="application/vnd.openxmlformats-officedocument.themeOverride+xml"/>
  <Override PartName="/ppt/theme/themeOverride205.xml" ContentType="application/vnd.openxmlformats-officedocument.themeOverride+xml"/>
  <Override PartName="/ppt/theme/themeOverride2050.xml" ContentType="application/vnd.openxmlformats-officedocument.themeOverride+xml"/>
  <Override PartName="/ppt/theme/themeOverride2051.xml" ContentType="application/vnd.openxmlformats-officedocument.themeOverride+xml"/>
  <Override PartName="/ppt/theme/themeOverride2052.xml" ContentType="application/vnd.openxmlformats-officedocument.themeOverride+xml"/>
  <Override PartName="/ppt/theme/themeOverride2053.xml" ContentType="application/vnd.openxmlformats-officedocument.themeOverride+xml"/>
  <Override PartName="/ppt/theme/themeOverride2054.xml" ContentType="application/vnd.openxmlformats-officedocument.themeOverride+xml"/>
  <Override PartName="/ppt/theme/themeOverride2055.xml" ContentType="application/vnd.openxmlformats-officedocument.themeOverride+xml"/>
  <Override PartName="/ppt/theme/themeOverride2056.xml" ContentType="application/vnd.openxmlformats-officedocument.themeOverride+xml"/>
  <Override PartName="/ppt/theme/themeOverride2057.xml" ContentType="application/vnd.openxmlformats-officedocument.themeOverride+xml"/>
  <Override PartName="/ppt/theme/themeOverride2058.xml" ContentType="application/vnd.openxmlformats-officedocument.themeOverride+xml"/>
  <Override PartName="/ppt/theme/themeOverride2059.xml" ContentType="application/vnd.openxmlformats-officedocument.themeOverride+xml"/>
  <Override PartName="/ppt/theme/themeOverride206.xml" ContentType="application/vnd.openxmlformats-officedocument.themeOverride+xml"/>
  <Override PartName="/ppt/theme/themeOverride2060.xml" ContentType="application/vnd.openxmlformats-officedocument.themeOverride+xml"/>
  <Override PartName="/ppt/theme/themeOverride2061.xml" ContentType="application/vnd.openxmlformats-officedocument.themeOverride+xml"/>
  <Override PartName="/ppt/theme/themeOverride2062.xml" ContentType="application/vnd.openxmlformats-officedocument.themeOverride+xml"/>
  <Override PartName="/ppt/theme/themeOverride2063.xml" ContentType="application/vnd.openxmlformats-officedocument.themeOverride+xml"/>
  <Override PartName="/ppt/theme/themeOverride2064.xml" ContentType="application/vnd.openxmlformats-officedocument.themeOverride+xml"/>
  <Override PartName="/ppt/theme/themeOverride2065.xml" ContentType="application/vnd.openxmlformats-officedocument.themeOverride+xml"/>
  <Override PartName="/ppt/theme/themeOverride2066.xml" ContentType="application/vnd.openxmlformats-officedocument.themeOverride+xml"/>
  <Override PartName="/ppt/theme/themeOverride2067.xml" ContentType="application/vnd.openxmlformats-officedocument.themeOverride+xml"/>
  <Override PartName="/ppt/theme/themeOverride2068.xml" ContentType="application/vnd.openxmlformats-officedocument.themeOverride+xml"/>
  <Override PartName="/ppt/theme/themeOverride2069.xml" ContentType="application/vnd.openxmlformats-officedocument.themeOverride+xml"/>
  <Override PartName="/ppt/theme/themeOverride207.xml" ContentType="application/vnd.openxmlformats-officedocument.themeOverride+xml"/>
  <Override PartName="/ppt/theme/themeOverride2070.xml" ContentType="application/vnd.openxmlformats-officedocument.themeOverride+xml"/>
  <Override PartName="/ppt/theme/themeOverride2071.xml" ContentType="application/vnd.openxmlformats-officedocument.themeOverride+xml"/>
  <Override PartName="/ppt/theme/themeOverride2072.xml" ContentType="application/vnd.openxmlformats-officedocument.themeOverride+xml"/>
  <Override PartName="/ppt/theme/themeOverride2073.xml" ContentType="application/vnd.openxmlformats-officedocument.themeOverride+xml"/>
  <Override PartName="/ppt/theme/themeOverride2074.xml" ContentType="application/vnd.openxmlformats-officedocument.themeOverride+xml"/>
  <Override PartName="/ppt/theme/themeOverride2075.xml" ContentType="application/vnd.openxmlformats-officedocument.themeOverride+xml"/>
  <Override PartName="/ppt/theme/themeOverride2076.xml" ContentType="application/vnd.openxmlformats-officedocument.themeOverride+xml"/>
  <Override PartName="/ppt/theme/themeOverride2077.xml" ContentType="application/vnd.openxmlformats-officedocument.themeOverride+xml"/>
  <Override PartName="/ppt/theme/themeOverride2078.xml" ContentType="application/vnd.openxmlformats-officedocument.themeOverride+xml"/>
  <Override PartName="/ppt/theme/themeOverride2079.xml" ContentType="application/vnd.openxmlformats-officedocument.themeOverride+xml"/>
  <Override PartName="/ppt/theme/themeOverride208.xml" ContentType="application/vnd.openxmlformats-officedocument.themeOverride+xml"/>
  <Override PartName="/ppt/theme/themeOverride2080.xml" ContentType="application/vnd.openxmlformats-officedocument.themeOverride+xml"/>
  <Override PartName="/ppt/theme/themeOverride2081.xml" ContentType="application/vnd.openxmlformats-officedocument.themeOverride+xml"/>
  <Override PartName="/ppt/theme/themeOverride2082.xml" ContentType="application/vnd.openxmlformats-officedocument.themeOverride+xml"/>
  <Override PartName="/ppt/theme/themeOverride2083.xml" ContentType="application/vnd.openxmlformats-officedocument.themeOverride+xml"/>
  <Override PartName="/ppt/theme/themeOverride2084.xml" ContentType="application/vnd.openxmlformats-officedocument.themeOverride+xml"/>
  <Override PartName="/ppt/theme/themeOverride2085.xml" ContentType="application/vnd.openxmlformats-officedocument.themeOverride+xml"/>
  <Override PartName="/ppt/theme/themeOverride2086.xml" ContentType="application/vnd.openxmlformats-officedocument.themeOverride+xml"/>
  <Override PartName="/ppt/theme/themeOverride2087.xml" ContentType="application/vnd.openxmlformats-officedocument.themeOverride+xml"/>
  <Override PartName="/ppt/theme/themeOverride2088.xml" ContentType="application/vnd.openxmlformats-officedocument.themeOverride+xml"/>
  <Override PartName="/ppt/theme/themeOverride2089.xml" ContentType="application/vnd.openxmlformats-officedocument.themeOverride+xml"/>
  <Override PartName="/ppt/theme/themeOverride209.xml" ContentType="application/vnd.openxmlformats-officedocument.themeOverride+xml"/>
  <Override PartName="/ppt/theme/themeOverride2090.xml" ContentType="application/vnd.openxmlformats-officedocument.themeOverride+xml"/>
  <Override PartName="/ppt/theme/themeOverride2091.xml" ContentType="application/vnd.openxmlformats-officedocument.themeOverride+xml"/>
  <Override PartName="/ppt/theme/themeOverride2092.xml" ContentType="application/vnd.openxmlformats-officedocument.themeOverride+xml"/>
  <Override PartName="/ppt/theme/themeOverride2093.xml" ContentType="application/vnd.openxmlformats-officedocument.themeOverride+xml"/>
  <Override PartName="/ppt/theme/themeOverride2094.xml" ContentType="application/vnd.openxmlformats-officedocument.themeOverride+xml"/>
  <Override PartName="/ppt/theme/themeOverride2095.xml" ContentType="application/vnd.openxmlformats-officedocument.themeOverride+xml"/>
  <Override PartName="/ppt/theme/themeOverride2096.xml" ContentType="application/vnd.openxmlformats-officedocument.themeOverride+xml"/>
  <Override PartName="/ppt/theme/themeOverride2097.xml" ContentType="application/vnd.openxmlformats-officedocument.themeOverride+xml"/>
  <Override PartName="/ppt/theme/themeOverride2098.xml" ContentType="application/vnd.openxmlformats-officedocument.themeOverride+xml"/>
  <Override PartName="/ppt/theme/themeOverride2099.xml" ContentType="application/vnd.openxmlformats-officedocument.themeOverride+xml"/>
  <Override PartName="/ppt/theme/themeOverride21.xml" ContentType="application/vnd.openxmlformats-officedocument.themeOverride+xml"/>
  <Override PartName="/ppt/theme/themeOverride210.xml" ContentType="application/vnd.openxmlformats-officedocument.themeOverride+xml"/>
  <Override PartName="/ppt/theme/themeOverride2100.xml" ContentType="application/vnd.openxmlformats-officedocument.themeOverride+xml"/>
  <Override PartName="/ppt/theme/themeOverride2101.xml" ContentType="application/vnd.openxmlformats-officedocument.themeOverride+xml"/>
  <Override PartName="/ppt/theme/themeOverride2102.xml" ContentType="application/vnd.openxmlformats-officedocument.themeOverride+xml"/>
  <Override PartName="/ppt/theme/themeOverride2103.xml" ContentType="application/vnd.openxmlformats-officedocument.themeOverride+xml"/>
  <Override PartName="/ppt/theme/themeOverride2104.xml" ContentType="application/vnd.openxmlformats-officedocument.themeOverride+xml"/>
  <Override PartName="/ppt/theme/themeOverride2105.xml" ContentType="application/vnd.openxmlformats-officedocument.themeOverride+xml"/>
  <Override PartName="/ppt/theme/themeOverride2106.xml" ContentType="application/vnd.openxmlformats-officedocument.themeOverride+xml"/>
  <Override PartName="/ppt/theme/themeOverride2107.xml" ContentType="application/vnd.openxmlformats-officedocument.themeOverride+xml"/>
  <Override PartName="/ppt/theme/themeOverride2108.xml" ContentType="application/vnd.openxmlformats-officedocument.themeOverride+xml"/>
  <Override PartName="/ppt/theme/themeOverride2109.xml" ContentType="application/vnd.openxmlformats-officedocument.themeOverride+xml"/>
  <Override PartName="/ppt/theme/themeOverride211.xml" ContentType="application/vnd.openxmlformats-officedocument.themeOverride+xml"/>
  <Override PartName="/ppt/theme/themeOverride2110.xml" ContentType="application/vnd.openxmlformats-officedocument.themeOverride+xml"/>
  <Override PartName="/ppt/theme/themeOverride2111.xml" ContentType="application/vnd.openxmlformats-officedocument.themeOverride+xml"/>
  <Override PartName="/ppt/theme/themeOverride2112.xml" ContentType="application/vnd.openxmlformats-officedocument.themeOverride+xml"/>
  <Override PartName="/ppt/theme/themeOverride2113.xml" ContentType="application/vnd.openxmlformats-officedocument.themeOverride+xml"/>
  <Override PartName="/ppt/theme/themeOverride2114.xml" ContentType="application/vnd.openxmlformats-officedocument.themeOverride+xml"/>
  <Override PartName="/ppt/theme/themeOverride2115.xml" ContentType="application/vnd.openxmlformats-officedocument.themeOverride+xml"/>
  <Override PartName="/ppt/theme/themeOverride2116.xml" ContentType="application/vnd.openxmlformats-officedocument.themeOverride+xml"/>
  <Override PartName="/ppt/theme/themeOverride2117.xml" ContentType="application/vnd.openxmlformats-officedocument.themeOverride+xml"/>
  <Override PartName="/ppt/theme/themeOverride2118.xml" ContentType="application/vnd.openxmlformats-officedocument.themeOverride+xml"/>
  <Override PartName="/ppt/theme/themeOverride2119.xml" ContentType="application/vnd.openxmlformats-officedocument.themeOverride+xml"/>
  <Override PartName="/ppt/theme/themeOverride212.xml" ContentType="application/vnd.openxmlformats-officedocument.themeOverride+xml"/>
  <Override PartName="/ppt/theme/themeOverride2120.xml" ContentType="application/vnd.openxmlformats-officedocument.themeOverride+xml"/>
  <Override PartName="/ppt/theme/themeOverride2121.xml" ContentType="application/vnd.openxmlformats-officedocument.themeOverride+xml"/>
  <Override PartName="/ppt/theme/themeOverride2122.xml" ContentType="application/vnd.openxmlformats-officedocument.themeOverride+xml"/>
  <Override PartName="/ppt/theme/themeOverride2123.xml" ContentType="application/vnd.openxmlformats-officedocument.themeOverride+xml"/>
  <Override PartName="/ppt/theme/themeOverride2124.xml" ContentType="application/vnd.openxmlformats-officedocument.themeOverride+xml"/>
  <Override PartName="/ppt/theme/themeOverride2125.xml" ContentType="application/vnd.openxmlformats-officedocument.themeOverride+xml"/>
  <Override PartName="/ppt/theme/themeOverride2126.xml" ContentType="application/vnd.openxmlformats-officedocument.themeOverride+xml"/>
  <Override PartName="/ppt/theme/themeOverride2127.xml" ContentType="application/vnd.openxmlformats-officedocument.themeOverride+xml"/>
  <Override PartName="/ppt/theme/themeOverride2128.xml" ContentType="application/vnd.openxmlformats-officedocument.themeOverride+xml"/>
  <Override PartName="/ppt/theme/themeOverride2129.xml" ContentType="application/vnd.openxmlformats-officedocument.themeOverride+xml"/>
  <Override PartName="/ppt/theme/themeOverride213.xml" ContentType="application/vnd.openxmlformats-officedocument.themeOverride+xml"/>
  <Override PartName="/ppt/theme/themeOverride2130.xml" ContentType="application/vnd.openxmlformats-officedocument.themeOverride+xml"/>
  <Override PartName="/ppt/theme/themeOverride2131.xml" ContentType="application/vnd.openxmlformats-officedocument.themeOverride+xml"/>
  <Override PartName="/ppt/theme/themeOverride2132.xml" ContentType="application/vnd.openxmlformats-officedocument.themeOverride+xml"/>
  <Override PartName="/ppt/theme/themeOverride2133.xml" ContentType="application/vnd.openxmlformats-officedocument.themeOverride+xml"/>
  <Override PartName="/ppt/theme/themeOverride2134.xml" ContentType="application/vnd.openxmlformats-officedocument.themeOverride+xml"/>
  <Override PartName="/ppt/theme/themeOverride2135.xml" ContentType="application/vnd.openxmlformats-officedocument.themeOverride+xml"/>
  <Override PartName="/ppt/theme/themeOverride2136.xml" ContentType="application/vnd.openxmlformats-officedocument.themeOverride+xml"/>
  <Override PartName="/ppt/theme/themeOverride2137.xml" ContentType="application/vnd.openxmlformats-officedocument.themeOverride+xml"/>
  <Override PartName="/ppt/theme/themeOverride2138.xml" ContentType="application/vnd.openxmlformats-officedocument.themeOverride+xml"/>
  <Override PartName="/ppt/theme/themeOverride2139.xml" ContentType="application/vnd.openxmlformats-officedocument.themeOverride+xml"/>
  <Override PartName="/ppt/theme/themeOverride214.xml" ContentType="application/vnd.openxmlformats-officedocument.themeOverride+xml"/>
  <Override PartName="/ppt/theme/themeOverride2140.xml" ContentType="application/vnd.openxmlformats-officedocument.themeOverride+xml"/>
  <Override PartName="/ppt/theme/themeOverride2141.xml" ContentType="application/vnd.openxmlformats-officedocument.themeOverride+xml"/>
  <Override PartName="/ppt/theme/themeOverride2142.xml" ContentType="application/vnd.openxmlformats-officedocument.themeOverride+xml"/>
  <Override PartName="/ppt/theme/themeOverride2143.xml" ContentType="application/vnd.openxmlformats-officedocument.themeOverride+xml"/>
  <Override PartName="/ppt/theme/themeOverride2144.xml" ContentType="application/vnd.openxmlformats-officedocument.themeOverride+xml"/>
  <Override PartName="/ppt/theme/themeOverride2145.xml" ContentType="application/vnd.openxmlformats-officedocument.themeOverride+xml"/>
  <Override PartName="/ppt/theme/themeOverride2146.xml" ContentType="application/vnd.openxmlformats-officedocument.themeOverride+xml"/>
  <Override PartName="/ppt/theme/themeOverride2147.xml" ContentType="application/vnd.openxmlformats-officedocument.themeOverride+xml"/>
  <Override PartName="/ppt/theme/themeOverride2148.xml" ContentType="application/vnd.openxmlformats-officedocument.themeOverride+xml"/>
  <Override PartName="/ppt/theme/themeOverride2149.xml" ContentType="application/vnd.openxmlformats-officedocument.themeOverride+xml"/>
  <Override PartName="/ppt/theme/themeOverride215.xml" ContentType="application/vnd.openxmlformats-officedocument.themeOverride+xml"/>
  <Override PartName="/ppt/theme/themeOverride2150.xml" ContentType="application/vnd.openxmlformats-officedocument.themeOverride+xml"/>
  <Override PartName="/ppt/theme/themeOverride2151.xml" ContentType="application/vnd.openxmlformats-officedocument.themeOverride+xml"/>
  <Override PartName="/ppt/theme/themeOverride2152.xml" ContentType="application/vnd.openxmlformats-officedocument.themeOverride+xml"/>
  <Override PartName="/ppt/theme/themeOverride2153.xml" ContentType="application/vnd.openxmlformats-officedocument.themeOverride+xml"/>
  <Override PartName="/ppt/theme/themeOverride2154.xml" ContentType="application/vnd.openxmlformats-officedocument.themeOverride+xml"/>
  <Override PartName="/ppt/theme/themeOverride2155.xml" ContentType="application/vnd.openxmlformats-officedocument.themeOverride+xml"/>
  <Override PartName="/ppt/theme/themeOverride2156.xml" ContentType="application/vnd.openxmlformats-officedocument.themeOverride+xml"/>
  <Override PartName="/ppt/theme/themeOverride2157.xml" ContentType="application/vnd.openxmlformats-officedocument.themeOverride+xml"/>
  <Override PartName="/ppt/theme/themeOverride2158.xml" ContentType="application/vnd.openxmlformats-officedocument.themeOverride+xml"/>
  <Override PartName="/ppt/theme/themeOverride2159.xml" ContentType="application/vnd.openxmlformats-officedocument.themeOverride+xml"/>
  <Override PartName="/ppt/theme/themeOverride216.xml" ContentType="application/vnd.openxmlformats-officedocument.themeOverride+xml"/>
  <Override PartName="/ppt/theme/themeOverride2160.xml" ContentType="application/vnd.openxmlformats-officedocument.themeOverride+xml"/>
  <Override PartName="/ppt/theme/themeOverride2161.xml" ContentType="application/vnd.openxmlformats-officedocument.themeOverride+xml"/>
  <Override PartName="/ppt/theme/themeOverride2162.xml" ContentType="application/vnd.openxmlformats-officedocument.themeOverride+xml"/>
  <Override PartName="/ppt/theme/themeOverride2163.xml" ContentType="application/vnd.openxmlformats-officedocument.themeOverride+xml"/>
  <Override PartName="/ppt/theme/themeOverride2164.xml" ContentType="application/vnd.openxmlformats-officedocument.themeOverride+xml"/>
  <Override PartName="/ppt/theme/themeOverride2165.xml" ContentType="application/vnd.openxmlformats-officedocument.themeOverride+xml"/>
  <Override PartName="/ppt/theme/themeOverride2166.xml" ContentType="application/vnd.openxmlformats-officedocument.themeOverride+xml"/>
  <Override PartName="/ppt/theme/themeOverride2167.xml" ContentType="application/vnd.openxmlformats-officedocument.themeOverride+xml"/>
  <Override PartName="/ppt/theme/themeOverride2168.xml" ContentType="application/vnd.openxmlformats-officedocument.themeOverride+xml"/>
  <Override PartName="/ppt/theme/themeOverride2169.xml" ContentType="application/vnd.openxmlformats-officedocument.themeOverride+xml"/>
  <Override PartName="/ppt/theme/themeOverride217.xml" ContentType="application/vnd.openxmlformats-officedocument.themeOverride+xml"/>
  <Override PartName="/ppt/theme/themeOverride2170.xml" ContentType="application/vnd.openxmlformats-officedocument.themeOverride+xml"/>
  <Override PartName="/ppt/theme/themeOverride2171.xml" ContentType="application/vnd.openxmlformats-officedocument.themeOverride+xml"/>
  <Override PartName="/ppt/theme/themeOverride2172.xml" ContentType="application/vnd.openxmlformats-officedocument.themeOverride+xml"/>
  <Override PartName="/ppt/theme/themeOverride2173.xml" ContentType="application/vnd.openxmlformats-officedocument.themeOverride+xml"/>
  <Override PartName="/ppt/theme/themeOverride2174.xml" ContentType="application/vnd.openxmlformats-officedocument.themeOverride+xml"/>
  <Override PartName="/ppt/theme/themeOverride2175.xml" ContentType="application/vnd.openxmlformats-officedocument.themeOverride+xml"/>
  <Override PartName="/ppt/theme/themeOverride2176.xml" ContentType="application/vnd.openxmlformats-officedocument.themeOverride+xml"/>
  <Override PartName="/ppt/theme/themeOverride2177.xml" ContentType="application/vnd.openxmlformats-officedocument.themeOverride+xml"/>
  <Override PartName="/ppt/theme/themeOverride2178.xml" ContentType="application/vnd.openxmlformats-officedocument.themeOverride+xml"/>
  <Override PartName="/ppt/theme/themeOverride2179.xml" ContentType="application/vnd.openxmlformats-officedocument.themeOverride+xml"/>
  <Override PartName="/ppt/theme/themeOverride218.xml" ContentType="application/vnd.openxmlformats-officedocument.themeOverride+xml"/>
  <Override PartName="/ppt/theme/themeOverride2180.xml" ContentType="application/vnd.openxmlformats-officedocument.themeOverride+xml"/>
  <Override PartName="/ppt/theme/themeOverride2181.xml" ContentType="application/vnd.openxmlformats-officedocument.themeOverride+xml"/>
  <Override PartName="/ppt/theme/themeOverride2182.xml" ContentType="application/vnd.openxmlformats-officedocument.themeOverride+xml"/>
  <Override PartName="/ppt/theme/themeOverride2183.xml" ContentType="application/vnd.openxmlformats-officedocument.themeOverride+xml"/>
  <Override PartName="/ppt/theme/themeOverride2184.xml" ContentType="application/vnd.openxmlformats-officedocument.themeOverride+xml"/>
  <Override PartName="/ppt/theme/themeOverride2185.xml" ContentType="application/vnd.openxmlformats-officedocument.themeOverride+xml"/>
  <Override PartName="/ppt/theme/themeOverride2186.xml" ContentType="application/vnd.openxmlformats-officedocument.themeOverride+xml"/>
  <Override PartName="/ppt/theme/themeOverride2187.xml" ContentType="application/vnd.openxmlformats-officedocument.themeOverride+xml"/>
  <Override PartName="/ppt/theme/themeOverride2188.xml" ContentType="application/vnd.openxmlformats-officedocument.themeOverride+xml"/>
  <Override PartName="/ppt/theme/themeOverride2189.xml" ContentType="application/vnd.openxmlformats-officedocument.themeOverride+xml"/>
  <Override PartName="/ppt/theme/themeOverride219.xml" ContentType="application/vnd.openxmlformats-officedocument.themeOverride+xml"/>
  <Override PartName="/ppt/theme/themeOverride2190.xml" ContentType="application/vnd.openxmlformats-officedocument.themeOverride+xml"/>
  <Override PartName="/ppt/theme/themeOverride2191.xml" ContentType="application/vnd.openxmlformats-officedocument.themeOverride+xml"/>
  <Override PartName="/ppt/theme/themeOverride2192.xml" ContentType="application/vnd.openxmlformats-officedocument.themeOverride+xml"/>
  <Override PartName="/ppt/theme/themeOverride2193.xml" ContentType="application/vnd.openxmlformats-officedocument.themeOverride+xml"/>
  <Override PartName="/ppt/theme/themeOverride2194.xml" ContentType="application/vnd.openxmlformats-officedocument.themeOverride+xml"/>
  <Override PartName="/ppt/theme/themeOverride2195.xml" ContentType="application/vnd.openxmlformats-officedocument.themeOverride+xml"/>
  <Override PartName="/ppt/theme/themeOverride2196.xml" ContentType="application/vnd.openxmlformats-officedocument.themeOverride+xml"/>
  <Override PartName="/ppt/theme/themeOverride2197.xml" ContentType="application/vnd.openxmlformats-officedocument.themeOverride+xml"/>
  <Override PartName="/ppt/theme/themeOverride2198.xml" ContentType="application/vnd.openxmlformats-officedocument.themeOverride+xml"/>
  <Override PartName="/ppt/theme/themeOverride2199.xml" ContentType="application/vnd.openxmlformats-officedocument.themeOverride+xml"/>
  <Override PartName="/ppt/theme/themeOverride22.xml" ContentType="application/vnd.openxmlformats-officedocument.themeOverride+xml"/>
  <Override PartName="/ppt/theme/themeOverride220.xml" ContentType="application/vnd.openxmlformats-officedocument.themeOverride+xml"/>
  <Override PartName="/ppt/theme/themeOverride2200.xml" ContentType="application/vnd.openxmlformats-officedocument.themeOverride+xml"/>
  <Override PartName="/ppt/theme/themeOverride2201.xml" ContentType="application/vnd.openxmlformats-officedocument.themeOverride+xml"/>
  <Override PartName="/ppt/theme/themeOverride2202.xml" ContentType="application/vnd.openxmlformats-officedocument.themeOverride+xml"/>
  <Override PartName="/ppt/theme/themeOverride2203.xml" ContentType="application/vnd.openxmlformats-officedocument.themeOverride+xml"/>
  <Override PartName="/ppt/theme/themeOverride2204.xml" ContentType="application/vnd.openxmlformats-officedocument.themeOverride+xml"/>
  <Override PartName="/ppt/theme/themeOverride2205.xml" ContentType="application/vnd.openxmlformats-officedocument.themeOverride+xml"/>
  <Override PartName="/ppt/theme/themeOverride2206.xml" ContentType="application/vnd.openxmlformats-officedocument.themeOverride+xml"/>
  <Override PartName="/ppt/theme/themeOverride2207.xml" ContentType="application/vnd.openxmlformats-officedocument.themeOverride+xml"/>
  <Override PartName="/ppt/theme/themeOverride2208.xml" ContentType="application/vnd.openxmlformats-officedocument.themeOverride+xml"/>
  <Override PartName="/ppt/theme/themeOverride2209.xml" ContentType="application/vnd.openxmlformats-officedocument.themeOverride+xml"/>
  <Override PartName="/ppt/theme/themeOverride221.xml" ContentType="application/vnd.openxmlformats-officedocument.themeOverride+xml"/>
  <Override PartName="/ppt/theme/themeOverride2210.xml" ContentType="application/vnd.openxmlformats-officedocument.themeOverride+xml"/>
  <Override PartName="/ppt/theme/themeOverride2211.xml" ContentType="application/vnd.openxmlformats-officedocument.themeOverride+xml"/>
  <Override PartName="/ppt/theme/themeOverride2212.xml" ContentType="application/vnd.openxmlformats-officedocument.themeOverride+xml"/>
  <Override PartName="/ppt/theme/themeOverride2213.xml" ContentType="application/vnd.openxmlformats-officedocument.themeOverride+xml"/>
  <Override PartName="/ppt/theme/themeOverride2214.xml" ContentType="application/vnd.openxmlformats-officedocument.themeOverride+xml"/>
  <Override PartName="/ppt/theme/themeOverride2215.xml" ContentType="application/vnd.openxmlformats-officedocument.themeOverride+xml"/>
  <Override PartName="/ppt/theme/themeOverride2216.xml" ContentType="application/vnd.openxmlformats-officedocument.themeOverride+xml"/>
  <Override PartName="/ppt/theme/themeOverride2217.xml" ContentType="application/vnd.openxmlformats-officedocument.themeOverride+xml"/>
  <Override PartName="/ppt/theme/themeOverride2218.xml" ContentType="application/vnd.openxmlformats-officedocument.themeOverride+xml"/>
  <Override PartName="/ppt/theme/themeOverride2219.xml" ContentType="application/vnd.openxmlformats-officedocument.themeOverride+xml"/>
  <Override PartName="/ppt/theme/themeOverride222.xml" ContentType="application/vnd.openxmlformats-officedocument.themeOverride+xml"/>
  <Override PartName="/ppt/theme/themeOverride2220.xml" ContentType="application/vnd.openxmlformats-officedocument.themeOverride+xml"/>
  <Override PartName="/ppt/theme/themeOverride2221.xml" ContentType="application/vnd.openxmlformats-officedocument.themeOverride+xml"/>
  <Override PartName="/ppt/theme/themeOverride2222.xml" ContentType="application/vnd.openxmlformats-officedocument.themeOverride+xml"/>
  <Override PartName="/ppt/theme/themeOverride2223.xml" ContentType="application/vnd.openxmlformats-officedocument.themeOverride+xml"/>
  <Override PartName="/ppt/theme/themeOverride2224.xml" ContentType="application/vnd.openxmlformats-officedocument.themeOverride+xml"/>
  <Override PartName="/ppt/theme/themeOverride2225.xml" ContentType="application/vnd.openxmlformats-officedocument.themeOverride+xml"/>
  <Override PartName="/ppt/theme/themeOverride2226.xml" ContentType="application/vnd.openxmlformats-officedocument.themeOverride+xml"/>
  <Override PartName="/ppt/theme/themeOverride2227.xml" ContentType="application/vnd.openxmlformats-officedocument.themeOverride+xml"/>
  <Override PartName="/ppt/theme/themeOverride2228.xml" ContentType="application/vnd.openxmlformats-officedocument.themeOverride+xml"/>
  <Override PartName="/ppt/theme/themeOverride2229.xml" ContentType="application/vnd.openxmlformats-officedocument.themeOverride+xml"/>
  <Override PartName="/ppt/theme/themeOverride223.xml" ContentType="application/vnd.openxmlformats-officedocument.themeOverride+xml"/>
  <Override PartName="/ppt/theme/themeOverride2230.xml" ContentType="application/vnd.openxmlformats-officedocument.themeOverride+xml"/>
  <Override PartName="/ppt/theme/themeOverride2231.xml" ContentType="application/vnd.openxmlformats-officedocument.themeOverride+xml"/>
  <Override PartName="/ppt/theme/themeOverride2232.xml" ContentType="application/vnd.openxmlformats-officedocument.themeOverride+xml"/>
  <Override PartName="/ppt/theme/themeOverride2233.xml" ContentType="application/vnd.openxmlformats-officedocument.themeOverride+xml"/>
  <Override PartName="/ppt/theme/themeOverride2234.xml" ContentType="application/vnd.openxmlformats-officedocument.themeOverride+xml"/>
  <Override PartName="/ppt/theme/themeOverride2235.xml" ContentType="application/vnd.openxmlformats-officedocument.themeOverride+xml"/>
  <Override PartName="/ppt/theme/themeOverride2236.xml" ContentType="application/vnd.openxmlformats-officedocument.themeOverride+xml"/>
  <Override PartName="/ppt/theme/themeOverride2237.xml" ContentType="application/vnd.openxmlformats-officedocument.themeOverride+xml"/>
  <Override PartName="/ppt/theme/themeOverride2238.xml" ContentType="application/vnd.openxmlformats-officedocument.themeOverride+xml"/>
  <Override PartName="/ppt/theme/themeOverride2239.xml" ContentType="application/vnd.openxmlformats-officedocument.themeOverride+xml"/>
  <Override PartName="/ppt/theme/themeOverride224.xml" ContentType="application/vnd.openxmlformats-officedocument.themeOverride+xml"/>
  <Override PartName="/ppt/theme/themeOverride2240.xml" ContentType="application/vnd.openxmlformats-officedocument.themeOverride+xml"/>
  <Override PartName="/ppt/theme/themeOverride2241.xml" ContentType="application/vnd.openxmlformats-officedocument.themeOverride+xml"/>
  <Override PartName="/ppt/theme/themeOverride2242.xml" ContentType="application/vnd.openxmlformats-officedocument.themeOverride+xml"/>
  <Override PartName="/ppt/theme/themeOverride2243.xml" ContentType="application/vnd.openxmlformats-officedocument.themeOverride+xml"/>
  <Override PartName="/ppt/theme/themeOverride2244.xml" ContentType="application/vnd.openxmlformats-officedocument.themeOverride+xml"/>
  <Override PartName="/ppt/theme/themeOverride2245.xml" ContentType="application/vnd.openxmlformats-officedocument.themeOverride+xml"/>
  <Override PartName="/ppt/theme/themeOverride2246.xml" ContentType="application/vnd.openxmlformats-officedocument.themeOverride+xml"/>
  <Override PartName="/ppt/theme/themeOverride2247.xml" ContentType="application/vnd.openxmlformats-officedocument.themeOverride+xml"/>
  <Override PartName="/ppt/theme/themeOverride2248.xml" ContentType="application/vnd.openxmlformats-officedocument.themeOverride+xml"/>
  <Override PartName="/ppt/theme/themeOverride2249.xml" ContentType="application/vnd.openxmlformats-officedocument.themeOverride+xml"/>
  <Override PartName="/ppt/theme/themeOverride225.xml" ContentType="application/vnd.openxmlformats-officedocument.themeOverride+xml"/>
  <Override PartName="/ppt/theme/themeOverride2250.xml" ContentType="application/vnd.openxmlformats-officedocument.themeOverride+xml"/>
  <Override PartName="/ppt/theme/themeOverride2251.xml" ContentType="application/vnd.openxmlformats-officedocument.themeOverride+xml"/>
  <Override PartName="/ppt/theme/themeOverride2252.xml" ContentType="application/vnd.openxmlformats-officedocument.themeOverride+xml"/>
  <Override PartName="/ppt/theme/themeOverride2253.xml" ContentType="application/vnd.openxmlformats-officedocument.themeOverride+xml"/>
  <Override PartName="/ppt/theme/themeOverride2254.xml" ContentType="application/vnd.openxmlformats-officedocument.themeOverride+xml"/>
  <Override PartName="/ppt/theme/themeOverride2255.xml" ContentType="application/vnd.openxmlformats-officedocument.themeOverride+xml"/>
  <Override PartName="/ppt/theme/themeOverride2256.xml" ContentType="application/vnd.openxmlformats-officedocument.themeOverride+xml"/>
  <Override PartName="/ppt/theme/themeOverride2257.xml" ContentType="application/vnd.openxmlformats-officedocument.themeOverride+xml"/>
  <Override PartName="/ppt/theme/themeOverride2258.xml" ContentType="application/vnd.openxmlformats-officedocument.themeOverride+xml"/>
  <Override PartName="/ppt/theme/themeOverride2259.xml" ContentType="application/vnd.openxmlformats-officedocument.themeOverride+xml"/>
  <Override PartName="/ppt/theme/themeOverride226.xml" ContentType="application/vnd.openxmlformats-officedocument.themeOverride+xml"/>
  <Override PartName="/ppt/theme/themeOverride2260.xml" ContentType="application/vnd.openxmlformats-officedocument.themeOverride+xml"/>
  <Override PartName="/ppt/theme/themeOverride2261.xml" ContentType="application/vnd.openxmlformats-officedocument.themeOverride+xml"/>
  <Override PartName="/ppt/theme/themeOverride2262.xml" ContentType="application/vnd.openxmlformats-officedocument.themeOverride+xml"/>
  <Override PartName="/ppt/theme/themeOverride2263.xml" ContentType="application/vnd.openxmlformats-officedocument.themeOverride+xml"/>
  <Override PartName="/ppt/theme/themeOverride2264.xml" ContentType="application/vnd.openxmlformats-officedocument.themeOverride+xml"/>
  <Override PartName="/ppt/theme/themeOverride2265.xml" ContentType="application/vnd.openxmlformats-officedocument.themeOverride+xml"/>
  <Override PartName="/ppt/theme/themeOverride2266.xml" ContentType="application/vnd.openxmlformats-officedocument.themeOverride+xml"/>
  <Override PartName="/ppt/theme/themeOverride2267.xml" ContentType="application/vnd.openxmlformats-officedocument.themeOverride+xml"/>
  <Override PartName="/ppt/theme/themeOverride2268.xml" ContentType="application/vnd.openxmlformats-officedocument.themeOverride+xml"/>
  <Override PartName="/ppt/theme/themeOverride2269.xml" ContentType="application/vnd.openxmlformats-officedocument.themeOverride+xml"/>
  <Override PartName="/ppt/theme/themeOverride227.xml" ContentType="application/vnd.openxmlformats-officedocument.themeOverride+xml"/>
  <Override PartName="/ppt/theme/themeOverride2270.xml" ContentType="application/vnd.openxmlformats-officedocument.themeOverride+xml"/>
  <Override PartName="/ppt/theme/themeOverride2271.xml" ContentType="application/vnd.openxmlformats-officedocument.themeOverride+xml"/>
  <Override PartName="/ppt/theme/themeOverride2272.xml" ContentType="application/vnd.openxmlformats-officedocument.themeOverride+xml"/>
  <Override PartName="/ppt/theme/themeOverride2273.xml" ContentType="application/vnd.openxmlformats-officedocument.themeOverride+xml"/>
  <Override PartName="/ppt/theme/themeOverride2274.xml" ContentType="application/vnd.openxmlformats-officedocument.themeOverride+xml"/>
  <Override PartName="/ppt/theme/themeOverride2275.xml" ContentType="application/vnd.openxmlformats-officedocument.themeOverride+xml"/>
  <Override PartName="/ppt/theme/themeOverride2276.xml" ContentType="application/vnd.openxmlformats-officedocument.themeOverride+xml"/>
  <Override PartName="/ppt/theme/themeOverride2277.xml" ContentType="application/vnd.openxmlformats-officedocument.themeOverride+xml"/>
  <Override PartName="/ppt/theme/themeOverride2278.xml" ContentType="application/vnd.openxmlformats-officedocument.themeOverride+xml"/>
  <Override PartName="/ppt/theme/themeOverride2279.xml" ContentType="application/vnd.openxmlformats-officedocument.themeOverride+xml"/>
  <Override PartName="/ppt/theme/themeOverride228.xml" ContentType="application/vnd.openxmlformats-officedocument.themeOverride+xml"/>
  <Override PartName="/ppt/theme/themeOverride2280.xml" ContentType="application/vnd.openxmlformats-officedocument.themeOverride+xml"/>
  <Override PartName="/ppt/theme/themeOverride2281.xml" ContentType="application/vnd.openxmlformats-officedocument.themeOverride+xml"/>
  <Override PartName="/ppt/theme/themeOverride2282.xml" ContentType="application/vnd.openxmlformats-officedocument.themeOverride+xml"/>
  <Override PartName="/ppt/theme/themeOverride2283.xml" ContentType="application/vnd.openxmlformats-officedocument.themeOverride+xml"/>
  <Override PartName="/ppt/theme/themeOverride2284.xml" ContentType="application/vnd.openxmlformats-officedocument.themeOverride+xml"/>
  <Override PartName="/ppt/theme/themeOverride2285.xml" ContentType="application/vnd.openxmlformats-officedocument.themeOverride+xml"/>
  <Override PartName="/ppt/theme/themeOverride2286.xml" ContentType="application/vnd.openxmlformats-officedocument.themeOverride+xml"/>
  <Override PartName="/ppt/theme/themeOverride2287.xml" ContentType="application/vnd.openxmlformats-officedocument.themeOverride+xml"/>
  <Override PartName="/ppt/theme/themeOverride2288.xml" ContentType="application/vnd.openxmlformats-officedocument.themeOverride+xml"/>
  <Override PartName="/ppt/theme/themeOverride2289.xml" ContentType="application/vnd.openxmlformats-officedocument.themeOverride+xml"/>
  <Override PartName="/ppt/theme/themeOverride229.xml" ContentType="application/vnd.openxmlformats-officedocument.themeOverride+xml"/>
  <Override PartName="/ppt/theme/themeOverride2290.xml" ContentType="application/vnd.openxmlformats-officedocument.themeOverride+xml"/>
  <Override PartName="/ppt/theme/themeOverride2291.xml" ContentType="application/vnd.openxmlformats-officedocument.themeOverride+xml"/>
  <Override PartName="/ppt/theme/themeOverride2292.xml" ContentType="application/vnd.openxmlformats-officedocument.themeOverride+xml"/>
  <Override PartName="/ppt/theme/themeOverride2293.xml" ContentType="application/vnd.openxmlformats-officedocument.themeOverride+xml"/>
  <Override PartName="/ppt/theme/themeOverride2294.xml" ContentType="application/vnd.openxmlformats-officedocument.themeOverride+xml"/>
  <Override PartName="/ppt/theme/themeOverride2295.xml" ContentType="application/vnd.openxmlformats-officedocument.themeOverride+xml"/>
  <Override PartName="/ppt/theme/themeOverride2296.xml" ContentType="application/vnd.openxmlformats-officedocument.themeOverride+xml"/>
  <Override PartName="/ppt/theme/themeOverride2297.xml" ContentType="application/vnd.openxmlformats-officedocument.themeOverride+xml"/>
  <Override PartName="/ppt/theme/themeOverride2298.xml" ContentType="application/vnd.openxmlformats-officedocument.themeOverride+xml"/>
  <Override PartName="/ppt/theme/themeOverride2299.xml" ContentType="application/vnd.openxmlformats-officedocument.themeOverride+xml"/>
  <Override PartName="/ppt/theme/themeOverride23.xml" ContentType="application/vnd.openxmlformats-officedocument.themeOverride+xml"/>
  <Override PartName="/ppt/theme/themeOverride230.xml" ContentType="application/vnd.openxmlformats-officedocument.themeOverride+xml"/>
  <Override PartName="/ppt/theme/themeOverride2300.xml" ContentType="application/vnd.openxmlformats-officedocument.themeOverride+xml"/>
  <Override PartName="/ppt/theme/themeOverride2301.xml" ContentType="application/vnd.openxmlformats-officedocument.themeOverride+xml"/>
  <Override PartName="/ppt/theme/themeOverride2302.xml" ContentType="application/vnd.openxmlformats-officedocument.themeOverride+xml"/>
  <Override PartName="/ppt/theme/themeOverride2303.xml" ContentType="application/vnd.openxmlformats-officedocument.themeOverride+xml"/>
  <Override PartName="/ppt/theme/themeOverride2304.xml" ContentType="application/vnd.openxmlformats-officedocument.themeOverride+xml"/>
  <Override PartName="/ppt/theme/themeOverride2305.xml" ContentType="application/vnd.openxmlformats-officedocument.themeOverride+xml"/>
  <Override PartName="/ppt/theme/themeOverride2306.xml" ContentType="application/vnd.openxmlformats-officedocument.themeOverride+xml"/>
  <Override PartName="/ppt/theme/themeOverride2307.xml" ContentType="application/vnd.openxmlformats-officedocument.themeOverride+xml"/>
  <Override PartName="/ppt/theme/themeOverride2308.xml" ContentType="application/vnd.openxmlformats-officedocument.themeOverride+xml"/>
  <Override PartName="/ppt/theme/themeOverride2309.xml" ContentType="application/vnd.openxmlformats-officedocument.themeOverride+xml"/>
  <Override PartName="/ppt/theme/themeOverride231.xml" ContentType="application/vnd.openxmlformats-officedocument.themeOverride+xml"/>
  <Override PartName="/ppt/theme/themeOverride2310.xml" ContentType="application/vnd.openxmlformats-officedocument.themeOverride+xml"/>
  <Override PartName="/ppt/theme/themeOverride2311.xml" ContentType="application/vnd.openxmlformats-officedocument.themeOverride+xml"/>
  <Override PartName="/ppt/theme/themeOverride2312.xml" ContentType="application/vnd.openxmlformats-officedocument.themeOverride+xml"/>
  <Override PartName="/ppt/theme/themeOverride2313.xml" ContentType="application/vnd.openxmlformats-officedocument.themeOverride+xml"/>
  <Override PartName="/ppt/theme/themeOverride2314.xml" ContentType="application/vnd.openxmlformats-officedocument.themeOverride+xml"/>
  <Override PartName="/ppt/theme/themeOverride2315.xml" ContentType="application/vnd.openxmlformats-officedocument.themeOverride+xml"/>
  <Override PartName="/ppt/theme/themeOverride2316.xml" ContentType="application/vnd.openxmlformats-officedocument.themeOverride+xml"/>
  <Override PartName="/ppt/theme/themeOverride2317.xml" ContentType="application/vnd.openxmlformats-officedocument.themeOverride+xml"/>
  <Override PartName="/ppt/theme/themeOverride2318.xml" ContentType="application/vnd.openxmlformats-officedocument.themeOverride+xml"/>
  <Override PartName="/ppt/theme/themeOverride2319.xml" ContentType="application/vnd.openxmlformats-officedocument.themeOverride+xml"/>
  <Override PartName="/ppt/theme/themeOverride232.xml" ContentType="application/vnd.openxmlformats-officedocument.themeOverride+xml"/>
  <Override PartName="/ppt/theme/themeOverride2320.xml" ContentType="application/vnd.openxmlformats-officedocument.themeOverride+xml"/>
  <Override PartName="/ppt/theme/themeOverride2321.xml" ContentType="application/vnd.openxmlformats-officedocument.themeOverride+xml"/>
  <Override PartName="/ppt/theme/themeOverride2322.xml" ContentType="application/vnd.openxmlformats-officedocument.themeOverride+xml"/>
  <Override PartName="/ppt/theme/themeOverride2323.xml" ContentType="application/vnd.openxmlformats-officedocument.themeOverride+xml"/>
  <Override PartName="/ppt/theme/themeOverride2324.xml" ContentType="application/vnd.openxmlformats-officedocument.themeOverride+xml"/>
  <Override PartName="/ppt/theme/themeOverride2325.xml" ContentType="application/vnd.openxmlformats-officedocument.themeOverride+xml"/>
  <Override PartName="/ppt/theme/themeOverride2326.xml" ContentType="application/vnd.openxmlformats-officedocument.themeOverride+xml"/>
  <Override PartName="/ppt/theme/themeOverride2327.xml" ContentType="application/vnd.openxmlformats-officedocument.themeOverride+xml"/>
  <Override PartName="/ppt/theme/themeOverride2328.xml" ContentType="application/vnd.openxmlformats-officedocument.themeOverride+xml"/>
  <Override PartName="/ppt/theme/themeOverride2329.xml" ContentType="application/vnd.openxmlformats-officedocument.themeOverride+xml"/>
  <Override PartName="/ppt/theme/themeOverride233.xml" ContentType="application/vnd.openxmlformats-officedocument.themeOverride+xml"/>
  <Override PartName="/ppt/theme/themeOverride2330.xml" ContentType="application/vnd.openxmlformats-officedocument.themeOverride+xml"/>
  <Override PartName="/ppt/theme/themeOverride2331.xml" ContentType="application/vnd.openxmlformats-officedocument.themeOverride+xml"/>
  <Override PartName="/ppt/theme/themeOverride2332.xml" ContentType="application/vnd.openxmlformats-officedocument.themeOverride+xml"/>
  <Override PartName="/ppt/theme/themeOverride2333.xml" ContentType="application/vnd.openxmlformats-officedocument.themeOverride+xml"/>
  <Override PartName="/ppt/theme/themeOverride2334.xml" ContentType="application/vnd.openxmlformats-officedocument.themeOverride+xml"/>
  <Override PartName="/ppt/theme/themeOverride2335.xml" ContentType="application/vnd.openxmlformats-officedocument.themeOverride+xml"/>
  <Override PartName="/ppt/theme/themeOverride2336.xml" ContentType="application/vnd.openxmlformats-officedocument.themeOverride+xml"/>
  <Override PartName="/ppt/theme/themeOverride2337.xml" ContentType="application/vnd.openxmlformats-officedocument.themeOverride+xml"/>
  <Override PartName="/ppt/theme/themeOverride2338.xml" ContentType="application/vnd.openxmlformats-officedocument.themeOverride+xml"/>
  <Override PartName="/ppt/theme/themeOverride2339.xml" ContentType="application/vnd.openxmlformats-officedocument.themeOverride+xml"/>
  <Override PartName="/ppt/theme/themeOverride234.xml" ContentType="application/vnd.openxmlformats-officedocument.themeOverride+xml"/>
  <Override PartName="/ppt/theme/themeOverride2340.xml" ContentType="application/vnd.openxmlformats-officedocument.themeOverride+xml"/>
  <Override PartName="/ppt/theme/themeOverride2341.xml" ContentType="application/vnd.openxmlformats-officedocument.themeOverride+xml"/>
  <Override PartName="/ppt/theme/themeOverride2342.xml" ContentType="application/vnd.openxmlformats-officedocument.themeOverride+xml"/>
  <Override PartName="/ppt/theme/themeOverride2343.xml" ContentType="application/vnd.openxmlformats-officedocument.themeOverride+xml"/>
  <Override PartName="/ppt/theme/themeOverride2344.xml" ContentType="application/vnd.openxmlformats-officedocument.themeOverride+xml"/>
  <Override PartName="/ppt/theme/themeOverride2345.xml" ContentType="application/vnd.openxmlformats-officedocument.themeOverride+xml"/>
  <Override PartName="/ppt/theme/themeOverride2346.xml" ContentType="application/vnd.openxmlformats-officedocument.themeOverride+xml"/>
  <Override PartName="/ppt/theme/themeOverride2347.xml" ContentType="application/vnd.openxmlformats-officedocument.themeOverride+xml"/>
  <Override PartName="/ppt/theme/themeOverride2348.xml" ContentType="application/vnd.openxmlformats-officedocument.themeOverride+xml"/>
  <Override PartName="/ppt/theme/themeOverride2349.xml" ContentType="application/vnd.openxmlformats-officedocument.themeOverride+xml"/>
  <Override PartName="/ppt/theme/themeOverride235.xml" ContentType="application/vnd.openxmlformats-officedocument.themeOverride+xml"/>
  <Override PartName="/ppt/theme/themeOverride2350.xml" ContentType="application/vnd.openxmlformats-officedocument.themeOverride+xml"/>
  <Override PartName="/ppt/theme/themeOverride2351.xml" ContentType="application/vnd.openxmlformats-officedocument.themeOverride+xml"/>
  <Override PartName="/ppt/theme/themeOverride2352.xml" ContentType="application/vnd.openxmlformats-officedocument.themeOverride+xml"/>
  <Override PartName="/ppt/theme/themeOverride2353.xml" ContentType="application/vnd.openxmlformats-officedocument.themeOverride+xml"/>
  <Override PartName="/ppt/theme/themeOverride2354.xml" ContentType="application/vnd.openxmlformats-officedocument.themeOverride+xml"/>
  <Override PartName="/ppt/theme/themeOverride2355.xml" ContentType="application/vnd.openxmlformats-officedocument.themeOverride+xml"/>
  <Override PartName="/ppt/theme/themeOverride2356.xml" ContentType="application/vnd.openxmlformats-officedocument.themeOverride+xml"/>
  <Override PartName="/ppt/theme/themeOverride2357.xml" ContentType="application/vnd.openxmlformats-officedocument.themeOverride+xml"/>
  <Override PartName="/ppt/theme/themeOverride2358.xml" ContentType="application/vnd.openxmlformats-officedocument.themeOverride+xml"/>
  <Override PartName="/ppt/theme/themeOverride2359.xml" ContentType="application/vnd.openxmlformats-officedocument.themeOverride+xml"/>
  <Override PartName="/ppt/theme/themeOverride236.xml" ContentType="application/vnd.openxmlformats-officedocument.themeOverride+xml"/>
  <Override PartName="/ppt/theme/themeOverride2360.xml" ContentType="application/vnd.openxmlformats-officedocument.themeOverride+xml"/>
  <Override PartName="/ppt/theme/themeOverride2361.xml" ContentType="application/vnd.openxmlformats-officedocument.themeOverride+xml"/>
  <Override PartName="/ppt/theme/themeOverride2362.xml" ContentType="application/vnd.openxmlformats-officedocument.themeOverride+xml"/>
  <Override PartName="/ppt/theme/themeOverride2363.xml" ContentType="application/vnd.openxmlformats-officedocument.themeOverride+xml"/>
  <Override PartName="/ppt/theme/themeOverride2364.xml" ContentType="application/vnd.openxmlformats-officedocument.themeOverride+xml"/>
  <Override PartName="/ppt/theme/themeOverride2365.xml" ContentType="application/vnd.openxmlformats-officedocument.themeOverride+xml"/>
  <Override PartName="/ppt/theme/themeOverride2366.xml" ContentType="application/vnd.openxmlformats-officedocument.themeOverride+xml"/>
  <Override PartName="/ppt/theme/themeOverride2367.xml" ContentType="application/vnd.openxmlformats-officedocument.themeOverride+xml"/>
  <Override PartName="/ppt/theme/themeOverride2368.xml" ContentType="application/vnd.openxmlformats-officedocument.themeOverride+xml"/>
  <Override PartName="/ppt/theme/themeOverride2369.xml" ContentType="application/vnd.openxmlformats-officedocument.themeOverride+xml"/>
  <Override PartName="/ppt/theme/themeOverride237.xml" ContentType="application/vnd.openxmlformats-officedocument.themeOverride+xml"/>
  <Override PartName="/ppt/theme/themeOverride2370.xml" ContentType="application/vnd.openxmlformats-officedocument.themeOverride+xml"/>
  <Override PartName="/ppt/theme/themeOverride2371.xml" ContentType="application/vnd.openxmlformats-officedocument.themeOverride+xml"/>
  <Override PartName="/ppt/theme/themeOverride2372.xml" ContentType="application/vnd.openxmlformats-officedocument.themeOverride+xml"/>
  <Override PartName="/ppt/theme/themeOverride2373.xml" ContentType="application/vnd.openxmlformats-officedocument.themeOverride+xml"/>
  <Override PartName="/ppt/theme/themeOverride2374.xml" ContentType="application/vnd.openxmlformats-officedocument.themeOverride+xml"/>
  <Override PartName="/ppt/theme/themeOverride2375.xml" ContentType="application/vnd.openxmlformats-officedocument.themeOverride+xml"/>
  <Override PartName="/ppt/theme/themeOverride2376.xml" ContentType="application/vnd.openxmlformats-officedocument.themeOverride+xml"/>
  <Override PartName="/ppt/theme/themeOverride2377.xml" ContentType="application/vnd.openxmlformats-officedocument.themeOverride+xml"/>
  <Override PartName="/ppt/theme/themeOverride2378.xml" ContentType="application/vnd.openxmlformats-officedocument.themeOverride+xml"/>
  <Override PartName="/ppt/theme/themeOverride2379.xml" ContentType="application/vnd.openxmlformats-officedocument.themeOverride+xml"/>
  <Override PartName="/ppt/theme/themeOverride238.xml" ContentType="application/vnd.openxmlformats-officedocument.themeOverride+xml"/>
  <Override PartName="/ppt/theme/themeOverride2380.xml" ContentType="application/vnd.openxmlformats-officedocument.themeOverride+xml"/>
  <Override PartName="/ppt/theme/themeOverride2381.xml" ContentType="application/vnd.openxmlformats-officedocument.themeOverride+xml"/>
  <Override PartName="/ppt/theme/themeOverride2382.xml" ContentType="application/vnd.openxmlformats-officedocument.themeOverride+xml"/>
  <Override PartName="/ppt/theme/themeOverride2383.xml" ContentType="application/vnd.openxmlformats-officedocument.themeOverride+xml"/>
  <Override PartName="/ppt/theme/themeOverride2384.xml" ContentType="application/vnd.openxmlformats-officedocument.themeOverride+xml"/>
  <Override PartName="/ppt/theme/themeOverride2385.xml" ContentType="application/vnd.openxmlformats-officedocument.themeOverride+xml"/>
  <Override PartName="/ppt/theme/themeOverride2386.xml" ContentType="application/vnd.openxmlformats-officedocument.themeOverride+xml"/>
  <Override PartName="/ppt/theme/themeOverride2387.xml" ContentType="application/vnd.openxmlformats-officedocument.themeOverride+xml"/>
  <Override PartName="/ppt/theme/themeOverride2388.xml" ContentType="application/vnd.openxmlformats-officedocument.themeOverride+xml"/>
  <Override PartName="/ppt/theme/themeOverride2389.xml" ContentType="application/vnd.openxmlformats-officedocument.themeOverride+xml"/>
  <Override PartName="/ppt/theme/themeOverride239.xml" ContentType="application/vnd.openxmlformats-officedocument.themeOverride+xml"/>
  <Override PartName="/ppt/theme/themeOverride2390.xml" ContentType="application/vnd.openxmlformats-officedocument.themeOverride+xml"/>
  <Override PartName="/ppt/theme/themeOverride2391.xml" ContentType="application/vnd.openxmlformats-officedocument.themeOverride+xml"/>
  <Override PartName="/ppt/theme/themeOverride2392.xml" ContentType="application/vnd.openxmlformats-officedocument.themeOverride+xml"/>
  <Override PartName="/ppt/theme/themeOverride2393.xml" ContentType="application/vnd.openxmlformats-officedocument.themeOverride+xml"/>
  <Override PartName="/ppt/theme/themeOverride2394.xml" ContentType="application/vnd.openxmlformats-officedocument.themeOverride+xml"/>
  <Override PartName="/ppt/theme/themeOverride2395.xml" ContentType="application/vnd.openxmlformats-officedocument.themeOverride+xml"/>
  <Override PartName="/ppt/theme/themeOverride2396.xml" ContentType="application/vnd.openxmlformats-officedocument.themeOverride+xml"/>
  <Override PartName="/ppt/theme/themeOverride2397.xml" ContentType="application/vnd.openxmlformats-officedocument.themeOverride+xml"/>
  <Override PartName="/ppt/theme/themeOverride2398.xml" ContentType="application/vnd.openxmlformats-officedocument.themeOverride+xml"/>
  <Override PartName="/ppt/theme/themeOverride2399.xml" ContentType="application/vnd.openxmlformats-officedocument.themeOverride+xml"/>
  <Override PartName="/ppt/theme/themeOverride24.xml" ContentType="application/vnd.openxmlformats-officedocument.themeOverride+xml"/>
  <Override PartName="/ppt/theme/themeOverride240.xml" ContentType="application/vnd.openxmlformats-officedocument.themeOverride+xml"/>
  <Override PartName="/ppt/theme/themeOverride2400.xml" ContentType="application/vnd.openxmlformats-officedocument.themeOverride+xml"/>
  <Override PartName="/ppt/theme/themeOverride2401.xml" ContentType="application/vnd.openxmlformats-officedocument.themeOverride+xml"/>
  <Override PartName="/ppt/theme/themeOverride2402.xml" ContentType="application/vnd.openxmlformats-officedocument.themeOverride+xml"/>
  <Override PartName="/ppt/theme/themeOverride2403.xml" ContentType="application/vnd.openxmlformats-officedocument.themeOverride+xml"/>
  <Override PartName="/ppt/theme/themeOverride2404.xml" ContentType="application/vnd.openxmlformats-officedocument.themeOverride+xml"/>
  <Override PartName="/ppt/theme/themeOverride2405.xml" ContentType="application/vnd.openxmlformats-officedocument.themeOverride+xml"/>
  <Override PartName="/ppt/theme/themeOverride2406.xml" ContentType="application/vnd.openxmlformats-officedocument.themeOverride+xml"/>
  <Override PartName="/ppt/theme/themeOverride2407.xml" ContentType="application/vnd.openxmlformats-officedocument.themeOverride+xml"/>
  <Override PartName="/ppt/theme/themeOverride2408.xml" ContentType="application/vnd.openxmlformats-officedocument.themeOverride+xml"/>
  <Override PartName="/ppt/theme/themeOverride2409.xml" ContentType="application/vnd.openxmlformats-officedocument.themeOverride+xml"/>
  <Override PartName="/ppt/theme/themeOverride241.xml" ContentType="application/vnd.openxmlformats-officedocument.themeOverride+xml"/>
  <Override PartName="/ppt/theme/themeOverride2410.xml" ContentType="application/vnd.openxmlformats-officedocument.themeOverride+xml"/>
  <Override PartName="/ppt/theme/themeOverride2411.xml" ContentType="application/vnd.openxmlformats-officedocument.themeOverride+xml"/>
  <Override PartName="/ppt/theme/themeOverride2412.xml" ContentType="application/vnd.openxmlformats-officedocument.themeOverride+xml"/>
  <Override PartName="/ppt/theme/themeOverride2413.xml" ContentType="application/vnd.openxmlformats-officedocument.themeOverride+xml"/>
  <Override PartName="/ppt/theme/themeOverride2414.xml" ContentType="application/vnd.openxmlformats-officedocument.themeOverride+xml"/>
  <Override PartName="/ppt/theme/themeOverride2415.xml" ContentType="application/vnd.openxmlformats-officedocument.themeOverride+xml"/>
  <Override PartName="/ppt/theme/themeOverride2416.xml" ContentType="application/vnd.openxmlformats-officedocument.themeOverride+xml"/>
  <Override PartName="/ppt/theme/themeOverride2417.xml" ContentType="application/vnd.openxmlformats-officedocument.themeOverride+xml"/>
  <Override PartName="/ppt/theme/themeOverride2418.xml" ContentType="application/vnd.openxmlformats-officedocument.themeOverride+xml"/>
  <Override PartName="/ppt/theme/themeOverride2419.xml" ContentType="application/vnd.openxmlformats-officedocument.themeOverride+xml"/>
  <Override PartName="/ppt/theme/themeOverride242.xml" ContentType="application/vnd.openxmlformats-officedocument.themeOverride+xml"/>
  <Override PartName="/ppt/theme/themeOverride2420.xml" ContentType="application/vnd.openxmlformats-officedocument.themeOverride+xml"/>
  <Override PartName="/ppt/theme/themeOverride2421.xml" ContentType="application/vnd.openxmlformats-officedocument.themeOverride+xml"/>
  <Override PartName="/ppt/theme/themeOverride2422.xml" ContentType="application/vnd.openxmlformats-officedocument.themeOverride+xml"/>
  <Override PartName="/ppt/theme/themeOverride2423.xml" ContentType="application/vnd.openxmlformats-officedocument.themeOverride+xml"/>
  <Override PartName="/ppt/theme/themeOverride2424.xml" ContentType="application/vnd.openxmlformats-officedocument.themeOverride+xml"/>
  <Override PartName="/ppt/theme/themeOverride2425.xml" ContentType="application/vnd.openxmlformats-officedocument.themeOverride+xml"/>
  <Override PartName="/ppt/theme/themeOverride2426.xml" ContentType="application/vnd.openxmlformats-officedocument.themeOverride+xml"/>
  <Override PartName="/ppt/theme/themeOverride2427.xml" ContentType="application/vnd.openxmlformats-officedocument.themeOverride+xml"/>
  <Override PartName="/ppt/theme/themeOverride2428.xml" ContentType="application/vnd.openxmlformats-officedocument.themeOverride+xml"/>
  <Override PartName="/ppt/theme/themeOverride2429.xml" ContentType="application/vnd.openxmlformats-officedocument.themeOverride+xml"/>
  <Override PartName="/ppt/theme/themeOverride243.xml" ContentType="application/vnd.openxmlformats-officedocument.themeOverride+xml"/>
  <Override PartName="/ppt/theme/themeOverride2430.xml" ContentType="application/vnd.openxmlformats-officedocument.themeOverride+xml"/>
  <Override PartName="/ppt/theme/themeOverride2431.xml" ContentType="application/vnd.openxmlformats-officedocument.themeOverride+xml"/>
  <Override PartName="/ppt/theme/themeOverride2432.xml" ContentType="application/vnd.openxmlformats-officedocument.themeOverride+xml"/>
  <Override PartName="/ppt/theme/themeOverride2433.xml" ContentType="application/vnd.openxmlformats-officedocument.themeOverride+xml"/>
  <Override PartName="/ppt/theme/themeOverride2434.xml" ContentType="application/vnd.openxmlformats-officedocument.themeOverride+xml"/>
  <Override PartName="/ppt/theme/themeOverride2435.xml" ContentType="application/vnd.openxmlformats-officedocument.themeOverride+xml"/>
  <Override PartName="/ppt/theme/themeOverride2436.xml" ContentType="application/vnd.openxmlformats-officedocument.themeOverride+xml"/>
  <Override PartName="/ppt/theme/themeOverride2437.xml" ContentType="application/vnd.openxmlformats-officedocument.themeOverride+xml"/>
  <Override PartName="/ppt/theme/themeOverride2438.xml" ContentType="application/vnd.openxmlformats-officedocument.themeOverride+xml"/>
  <Override PartName="/ppt/theme/themeOverride2439.xml" ContentType="application/vnd.openxmlformats-officedocument.themeOverride+xml"/>
  <Override PartName="/ppt/theme/themeOverride244.xml" ContentType="application/vnd.openxmlformats-officedocument.themeOverride+xml"/>
  <Override PartName="/ppt/theme/themeOverride2440.xml" ContentType="application/vnd.openxmlformats-officedocument.themeOverride+xml"/>
  <Override PartName="/ppt/theme/themeOverride2441.xml" ContentType="application/vnd.openxmlformats-officedocument.themeOverride+xml"/>
  <Override PartName="/ppt/theme/themeOverride2442.xml" ContentType="application/vnd.openxmlformats-officedocument.themeOverride+xml"/>
  <Override PartName="/ppt/theme/themeOverride2443.xml" ContentType="application/vnd.openxmlformats-officedocument.themeOverride+xml"/>
  <Override PartName="/ppt/theme/themeOverride2444.xml" ContentType="application/vnd.openxmlformats-officedocument.themeOverride+xml"/>
  <Override PartName="/ppt/theme/themeOverride2445.xml" ContentType="application/vnd.openxmlformats-officedocument.themeOverride+xml"/>
  <Override PartName="/ppt/theme/themeOverride2446.xml" ContentType="application/vnd.openxmlformats-officedocument.themeOverride+xml"/>
  <Override PartName="/ppt/theme/themeOverride2447.xml" ContentType="application/vnd.openxmlformats-officedocument.themeOverride+xml"/>
  <Override PartName="/ppt/theme/themeOverride2448.xml" ContentType="application/vnd.openxmlformats-officedocument.themeOverride+xml"/>
  <Override PartName="/ppt/theme/themeOverride2449.xml" ContentType="application/vnd.openxmlformats-officedocument.themeOverride+xml"/>
  <Override PartName="/ppt/theme/themeOverride245.xml" ContentType="application/vnd.openxmlformats-officedocument.themeOverride+xml"/>
  <Override PartName="/ppt/theme/themeOverride2450.xml" ContentType="application/vnd.openxmlformats-officedocument.themeOverride+xml"/>
  <Override PartName="/ppt/theme/themeOverride2451.xml" ContentType="application/vnd.openxmlformats-officedocument.themeOverride+xml"/>
  <Override PartName="/ppt/theme/themeOverride2452.xml" ContentType="application/vnd.openxmlformats-officedocument.themeOverride+xml"/>
  <Override PartName="/ppt/theme/themeOverride2453.xml" ContentType="application/vnd.openxmlformats-officedocument.themeOverride+xml"/>
  <Override PartName="/ppt/theme/themeOverride2454.xml" ContentType="application/vnd.openxmlformats-officedocument.themeOverride+xml"/>
  <Override PartName="/ppt/theme/themeOverride2455.xml" ContentType="application/vnd.openxmlformats-officedocument.themeOverride+xml"/>
  <Override PartName="/ppt/theme/themeOverride2456.xml" ContentType="application/vnd.openxmlformats-officedocument.themeOverride+xml"/>
  <Override PartName="/ppt/theme/themeOverride2457.xml" ContentType="application/vnd.openxmlformats-officedocument.themeOverride+xml"/>
  <Override PartName="/ppt/theme/themeOverride2458.xml" ContentType="application/vnd.openxmlformats-officedocument.themeOverride+xml"/>
  <Override PartName="/ppt/theme/themeOverride2459.xml" ContentType="application/vnd.openxmlformats-officedocument.themeOverride+xml"/>
  <Override PartName="/ppt/theme/themeOverride246.xml" ContentType="application/vnd.openxmlformats-officedocument.themeOverride+xml"/>
  <Override PartName="/ppt/theme/themeOverride2460.xml" ContentType="application/vnd.openxmlformats-officedocument.themeOverride+xml"/>
  <Override PartName="/ppt/theme/themeOverride2461.xml" ContentType="application/vnd.openxmlformats-officedocument.themeOverride+xml"/>
  <Override PartName="/ppt/theme/themeOverride2462.xml" ContentType="application/vnd.openxmlformats-officedocument.themeOverride+xml"/>
  <Override PartName="/ppt/theme/themeOverride2463.xml" ContentType="application/vnd.openxmlformats-officedocument.themeOverride+xml"/>
  <Override PartName="/ppt/theme/themeOverride2464.xml" ContentType="application/vnd.openxmlformats-officedocument.themeOverride+xml"/>
  <Override PartName="/ppt/theme/themeOverride2465.xml" ContentType="application/vnd.openxmlformats-officedocument.themeOverride+xml"/>
  <Override PartName="/ppt/theme/themeOverride2466.xml" ContentType="application/vnd.openxmlformats-officedocument.themeOverride+xml"/>
  <Override PartName="/ppt/theme/themeOverride2467.xml" ContentType="application/vnd.openxmlformats-officedocument.themeOverride+xml"/>
  <Override PartName="/ppt/theme/themeOverride2468.xml" ContentType="application/vnd.openxmlformats-officedocument.themeOverride+xml"/>
  <Override PartName="/ppt/theme/themeOverride2469.xml" ContentType="application/vnd.openxmlformats-officedocument.themeOverride+xml"/>
  <Override PartName="/ppt/theme/themeOverride247.xml" ContentType="application/vnd.openxmlformats-officedocument.themeOverride+xml"/>
  <Override PartName="/ppt/theme/themeOverride2470.xml" ContentType="application/vnd.openxmlformats-officedocument.themeOverride+xml"/>
  <Override PartName="/ppt/theme/themeOverride2471.xml" ContentType="application/vnd.openxmlformats-officedocument.themeOverride+xml"/>
  <Override PartName="/ppt/theme/themeOverride2472.xml" ContentType="application/vnd.openxmlformats-officedocument.themeOverride+xml"/>
  <Override PartName="/ppt/theme/themeOverride2473.xml" ContentType="application/vnd.openxmlformats-officedocument.themeOverride+xml"/>
  <Override PartName="/ppt/theme/themeOverride2474.xml" ContentType="application/vnd.openxmlformats-officedocument.themeOverride+xml"/>
  <Override PartName="/ppt/theme/themeOverride2475.xml" ContentType="application/vnd.openxmlformats-officedocument.themeOverride+xml"/>
  <Override PartName="/ppt/theme/themeOverride2476.xml" ContentType="application/vnd.openxmlformats-officedocument.themeOverride+xml"/>
  <Override PartName="/ppt/theme/themeOverride2477.xml" ContentType="application/vnd.openxmlformats-officedocument.themeOverride+xml"/>
  <Override PartName="/ppt/theme/themeOverride2478.xml" ContentType="application/vnd.openxmlformats-officedocument.themeOverride+xml"/>
  <Override PartName="/ppt/theme/themeOverride2479.xml" ContentType="application/vnd.openxmlformats-officedocument.themeOverride+xml"/>
  <Override PartName="/ppt/theme/themeOverride248.xml" ContentType="application/vnd.openxmlformats-officedocument.themeOverride+xml"/>
  <Override PartName="/ppt/theme/themeOverride2480.xml" ContentType="application/vnd.openxmlformats-officedocument.themeOverride+xml"/>
  <Override PartName="/ppt/theme/themeOverride2481.xml" ContentType="application/vnd.openxmlformats-officedocument.themeOverride+xml"/>
  <Override PartName="/ppt/theme/themeOverride2482.xml" ContentType="application/vnd.openxmlformats-officedocument.themeOverride+xml"/>
  <Override PartName="/ppt/theme/themeOverride2483.xml" ContentType="application/vnd.openxmlformats-officedocument.themeOverride+xml"/>
  <Override PartName="/ppt/theme/themeOverride2484.xml" ContentType="application/vnd.openxmlformats-officedocument.themeOverride+xml"/>
  <Override PartName="/ppt/theme/themeOverride2485.xml" ContentType="application/vnd.openxmlformats-officedocument.themeOverride+xml"/>
  <Override PartName="/ppt/theme/themeOverride2486.xml" ContentType="application/vnd.openxmlformats-officedocument.themeOverride+xml"/>
  <Override PartName="/ppt/theme/themeOverride2487.xml" ContentType="application/vnd.openxmlformats-officedocument.themeOverride+xml"/>
  <Override PartName="/ppt/theme/themeOverride2488.xml" ContentType="application/vnd.openxmlformats-officedocument.themeOverride+xml"/>
  <Override PartName="/ppt/theme/themeOverride2489.xml" ContentType="application/vnd.openxmlformats-officedocument.themeOverride+xml"/>
  <Override PartName="/ppt/theme/themeOverride249.xml" ContentType="application/vnd.openxmlformats-officedocument.themeOverride+xml"/>
  <Override PartName="/ppt/theme/themeOverride2490.xml" ContentType="application/vnd.openxmlformats-officedocument.themeOverride+xml"/>
  <Override PartName="/ppt/theme/themeOverride2491.xml" ContentType="application/vnd.openxmlformats-officedocument.themeOverride+xml"/>
  <Override PartName="/ppt/theme/themeOverride2492.xml" ContentType="application/vnd.openxmlformats-officedocument.themeOverride+xml"/>
  <Override PartName="/ppt/theme/themeOverride2493.xml" ContentType="application/vnd.openxmlformats-officedocument.themeOverride+xml"/>
  <Override PartName="/ppt/theme/themeOverride2494.xml" ContentType="application/vnd.openxmlformats-officedocument.themeOverride+xml"/>
  <Override PartName="/ppt/theme/themeOverride2495.xml" ContentType="application/vnd.openxmlformats-officedocument.themeOverride+xml"/>
  <Override PartName="/ppt/theme/themeOverride2496.xml" ContentType="application/vnd.openxmlformats-officedocument.themeOverride+xml"/>
  <Override PartName="/ppt/theme/themeOverride2497.xml" ContentType="application/vnd.openxmlformats-officedocument.themeOverride+xml"/>
  <Override PartName="/ppt/theme/themeOverride2498.xml" ContentType="application/vnd.openxmlformats-officedocument.themeOverride+xml"/>
  <Override PartName="/ppt/theme/themeOverride2499.xml" ContentType="application/vnd.openxmlformats-officedocument.themeOverride+xml"/>
  <Override PartName="/ppt/theme/themeOverride25.xml" ContentType="application/vnd.openxmlformats-officedocument.themeOverride+xml"/>
  <Override PartName="/ppt/theme/themeOverride250.xml" ContentType="application/vnd.openxmlformats-officedocument.themeOverride+xml"/>
  <Override PartName="/ppt/theme/themeOverride2500.xml" ContentType="application/vnd.openxmlformats-officedocument.themeOverride+xml"/>
  <Override PartName="/ppt/theme/themeOverride2501.xml" ContentType="application/vnd.openxmlformats-officedocument.themeOverride+xml"/>
  <Override PartName="/ppt/theme/themeOverride2502.xml" ContentType="application/vnd.openxmlformats-officedocument.themeOverride+xml"/>
  <Override PartName="/ppt/theme/themeOverride2503.xml" ContentType="application/vnd.openxmlformats-officedocument.themeOverride+xml"/>
  <Override PartName="/ppt/theme/themeOverride2504.xml" ContentType="application/vnd.openxmlformats-officedocument.themeOverride+xml"/>
  <Override PartName="/ppt/theme/themeOverride2505.xml" ContentType="application/vnd.openxmlformats-officedocument.themeOverride+xml"/>
  <Override PartName="/ppt/theme/themeOverride2506.xml" ContentType="application/vnd.openxmlformats-officedocument.themeOverride+xml"/>
  <Override PartName="/ppt/theme/themeOverride2507.xml" ContentType="application/vnd.openxmlformats-officedocument.themeOverride+xml"/>
  <Override PartName="/ppt/theme/themeOverride2508.xml" ContentType="application/vnd.openxmlformats-officedocument.themeOverride+xml"/>
  <Override PartName="/ppt/theme/themeOverride2509.xml" ContentType="application/vnd.openxmlformats-officedocument.themeOverride+xml"/>
  <Override PartName="/ppt/theme/themeOverride251.xml" ContentType="application/vnd.openxmlformats-officedocument.themeOverride+xml"/>
  <Override PartName="/ppt/theme/themeOverride2510.xml" ContentType="application/vnd.openxmlformats-officedocument.themeOverride+xml"/>
  <Override PartName="/ppt/theme/themeOverride2511.xml" ContentType="application/vnd.openxmlformats-officedocument.themeOverride+xml"/>
  <Override PartName="/ppt/theme/themeOverride2512.xml" ContentType="application/vnd.openxmlformats-officedocument.themeOverride+xml"/>
  <Override PartName="/ppt/theme/themeOverride2513.xml" ContentType="application/vnd.openxmlformats-officedocument.themeOverride+xml"/>
  <Override PartName="/ppt/theme/themeOverride2514.xml" ContentType="application/vnd.openxmlformats-officedocument.themeOverride+xml"/>
  <Override PartName="/ppt/theme/themeOverride2515.xml" ContentType="application/vnd.openxmlformats-officedocument.themeOverride+xml"/>
  <Override PartName="/ppt/theme/themeOverride2516.xml" ContentType="application/vnd.openxmlformats-officedocument.themeOverride+xml"/>
  <Override PartName="/ppt/theme/themeOverride2517.xml" ContentType="application/vnd.openxmlformats-officedocument.themeOverride+xml"/>
  <Override PartName="/ppt/theme/themeOverride2518.xml" ContentType="application/vnd.openxmlformats-officedocument.themeOverride+xml"/>
  <Override PartName="/ppt/theme/themeOverride2519.xml" ContentType="application/vnd.openxmlformats-officedocument.themeOverride+xml"/>
  <Override PartName="/ppt/theme/themeOverride252.xml" ContentType="application/vnd.openxmlformats-officedocument.themeOverride+xml"/>
  <Override PartName="/ppt/theme/themeOverride253.xml" ContentType="application/vnd.openxmlformats-officedocument.themeOverride+xml"/>
  <Override PartName="/ppt/theme/themeOverride254.xml" ContentType="application/vnd.openxmlformats-officedocument.themeOverride+xml"/>
  <Override PartName="/ppt/theme/themeOverride255.xml" ContentType="application/vnd.openxmlformats-officedocument.themeOverride+xml"/>
  <Override PartName="/ppt/theme/themeOverride256.xml" ContentType="application/vnd.openxmlformats-officedocument.themeOverride+xml"/>
  <Override PartName="/ppt/theme/themeOverride257.xml" ContentType="application/vnd.openxmlformats-officedocument.themeOverride+xml"/>
  <Override PartName="/ppt/theme/themeOverride258.xml" ContentType="application/vnd.openxmlformats-officedocument.themeOverride+xml"/>
  <Override PartName="/ppt/theme/themeOverride259.xml" ContentType="application/vnd.openxmlformats-officedocument.themeOverride+xml"/>
  <Override PartName="/ppt/theme/themeOverride26.xml" ContentType="application/vnd.openxmlformats-officedocument.themeOverride+xml"/>
  <Override PartName="/ppt/theme/themeOverride260.xml" ContentType="application/vnd.openxmlformats-officedocument.themeOverride+xml"/>
  <Override PartName="/ppt/theme/themeOverride261.xml" ContentType="application/vnd.openxmlformats-officedocument.themeOverride+xml"/>
  <Override PartName="/ppt/theme/themeOverride262.xml" ContentType="application/vnd.openxmlformats-officedocument.themeOverride+xml"/>
  <Override PartName="/ppt/theme/themeOverride263.xml" ContentType="application/vnd.openxmlformats-officedocument.themeOverride+xml"/>
  <Override PartName="/ppt/theme/themeOverride264.xml" ContentType="application/vnd.openxmlformats-officedocument.themeOverride+xml"/>
  <Override PartName="/ppt/theme/themeOverride265.xml" ContentType="application/vnd.openxmlformats-officedocument.themeOverride+xml"/>
  <Override PartName="/ppt/theme/themeOverride266.xml" ContentType="application/vnd.openxmlformats-officedocument.themeOverride+xml"/>
  <Override PartName="/ppt/theme/themeOverride267.xml" ContentType="application/vnd.openxmlformats-officedocument.themeOverride+xml"/>
  <Override PartName="/ppt/theme/themeOverride268.xml" ContentType="application/vnd.openxmlformats-officedocument.themeOverride+xml"/>
  <Override PartName="/ppt/theme/themeOverride269.xml" ContentType="application/vnd.openxmlformats-officedocument.themeOverride+xml"/>
  <Override PartName="/ppt/theme/themeOverride27.xml" ContentType="application/vnd.openxmlformats-officedocument.themeOverride+xml"/>
  <Override PartName="/ppt/theme/themeOverride270.xml" ContentType="application/vnd.openxmlformats-officedocument.themeOverride+xml"/>
  <Override PartName="/ppt/theme/themeOverride271.xml" ContentType="application/vnd.openxmlformats-officedocument.themeOverride+xml"/>
  <Override PartName="/ppt/theme/themeOverride272.xml" ContentType="application/vnd.openxmlformats-officedocument.themeOverride+xml"/>
  <Override PartName="/ppt/theme/themeOverride273.xml" ContentType="application/vnd.openxmlformats-officedocument.themeOverride+xml"/>
  <Override PartName="/ppt/theme/themeOverride274.xml" ContentType="application/vnd.openxmlformats-officedocument.themeOverride+xml"/>
  <Override PartName="/ppt/theme/themeOverride275.xml" ContentType="application/vnd.openxmlformats-officedocument.themeOverride+xml"/>
  <Override PartName="/ppt/theme/themeOverride276.xml" ContentType="application/vnd.openxmlformats-officedocument.themeOverride+xml"/>
  <Override PartName="/ppt/theme/themeOverride277.xml" ContentType="application/vnd.openxmlformats-officedocument.themeOverride+xml"/>
  <Override PartName="/ppt/theme/themeOverride278.xml" ContentType="application/vnd.openxmlformats-officedocument.themeOverride+xml"/>
  <Override PartName="/ppt/theme/themeOverride279.xml" ContentType="application/vnd.openxmlformats-officedocument.themeOverride+xml"/>
  <Override PartName="/ppt/theme/themeOverride28.xml" ContentType="application/vnd.openxmlformats-officedocument.themeOverride+xml"/>
  <Override PartName="/ppt/theme/themeOverride280.xml" ContentType="application/vnd.openxmlformats-officedocument.themeOverride+xml"/>
  <Override PartName="/ppt/theme/themeOverride281.xml" ContentType="application/vnd.openxmlformats-officedocument.themeOverride+xml"/>
  <Override PartName="/ppt/theme/themeOverride282.xml" ContentType="application/vnd.openxmlformats-officedocument.themeOverride+xml"/>
  <Override PartName="/ppt/theme/themeOverride283.xml" ContentType="application/vnd.openxmlformats-officedocument.themeOverride+xml"/>
  <Override PartName="/ppt/theme/themeOverride284.xml" ContentType="application/vnd.openxmlformats-officedocument.themeOverride+xml"/>
  <Override PartName="/ppt/theme/themeOverride285.xml" ContentType="application/vnd.openxmlformats-officedocument.themeOverride+xml"/>
  <Override PartName="/ppt/theme/themeOverride286.xml" ContentType="application/vnd.openxmlformats-officedocument.themeOverride+xml"/>
  <Override PartName="/ppt/theme/themeOverride287.xml" ContentType="application/vnd.openxmlformats-officedocument.themeOverride+xml"/>
  <Override PartName="/ppt/theme/themeOverride288.xml" ContentType="application/vnd.openxmlformats-officedocument.themeOverride+xml"/>
  <Override PartName="/ppt/theme/themeOverride289.xml" ContentType="application/vnd.openxmlformats-officedocument.themeOverride+xml"/>
  <Override PartName="/ppt/theme/themeOverride29.xml" ContentType="application/vnd.openxmlformats-officedocument.themeOverride+xml"/>
  <Override PartName="/ppt/theme/themeOverride290.xml" ContentType="application/vnd.openxmlformats-officedocument.themeOverride+xml"/>
  <Override PartName="/ppt/theme/themeOverride291.xml" ContentType="application/vnd.openxmlformats-officedocument.themeOverride+xml"/>
  <Override PartName="/ppt/theme/themeOverride292.xml" ContentType="application/vnd.openxmlformats-officedocument.themeOverride+xml"/>
  <Override PartName="/ppt/theme/themeOverride293.xml" ContentType="application/vnd.openxmlformats-officedocument.themeOverride+xml"/>
  <Override PartName="/ppt/theme/themeOverride294.xml" ContentType="application/vnd.openxmlformats-officedocument.themeOverride+xml"/>
  <Override PartName="/ppt/theme/themeOverride295.xml" ContentType="application/vnd.openxmlformats-officedocument.themeOverride+xml"/>
  <Override PartName="/ppt/theme/themeOverride296.xml" ContentType="application/vnd.openxmlformats-officedocument.themeOverride+xml"/>
  <Override PartName="/ppt/theme/themeOverride297.xml" ContentType="application/vnd.openxmlformats-officedocument.themeOverride+xml"/>
  <Override PartName="/ppt/theme/themeOverride298.xml" ContentType="application/vnd.openxmlformats-officedocument.themeOverride+xml"/>
  <Override PartName="/ppt/theme/themeOverride29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00.xml" ContentType="application/vnd.openxmlformats-officedocument.themeOverride+xml"/>
  <Override PartName="/ppt/theme/themeOverride301.xml" ContentType="application/vnd.openxmlformats-officedocument.themeOverride+xml"/>
  <Override PartName="/ppt/theme/themeOverride302.xml" ContentType="application/vnd.openxmlformats-officedocument.themeOverride+xml"/>
  <Override PartName="/ppt/theme/themeOverride303.xml" ContentType="application/vnd.openxmlformats-officedocument.themeOverride+xml"/>
  <Override PartName="/ppt/theme/themeOverride304.xml" ContentType="application/vnd.openxmlformats-officedocument.themeOverride+xml"/>
  <Override PartName="/ppt/theme/themeOverride305.xml" ContentType="application/vnd.openxmlformats-officedocument.themeOverride+xml"/>
  <Override PartName="/ppt/theme/themeOverride306.xml" ContentType="application/vnd.openxmlformats-officedocument.themeOverride+xml"/>
  <Override PartName="/ppt/theme/themeOverride307.xml" ContentType="application/vnd.openxmlformats-officedocument.themeOverride+xml"/>
  <Override PartName="/ppt/theme/themeOverride308.xml" ContentType="application/vnd.openxmlformats-officedocument.themeOverride+xml"/>
  <Override PartName="/ppt/theme/themeOverride309.xml" ContentType="application/vnd.openxmlformats-officedocument.themeOverride+xml"/>
  <Override PartName="/ppt/theme/themeOverride31.xml" ContentType="application/vnd.openxmlformats-officedocument.themeOverride+xml"/>
  <Override PartName="/ppt/theme/themeOverride310.xml" ContentType="application/vnd.openxmlformats-officedocument.themeOverride+xml"/>
  <Override PartName="/ppt/theme/themeOverride311.xml" ContentType="application/vnd.openxmlformats-officedocument.themeOverride+xml"/>
  <Override PartName="/ppt/theme/themeOverride312.xml" ContentType="application/vnd.openxmlformats-officedocument.themeOverride+xml"/>
  <Override PartName="/ppt/theme/themeOverride313.xml" ContentType="application/vnd.openxmlformats-officedocument.themeOverride+xml"/>
  <Override PartName="/ppt/theme/themeOverride314.xml" ContentType="application/vnd.openxmlformats-officedocument.themeOverride+xml"/>
  <Override PartName="/ppt/theme/themeOverride315.xml" ContentType="application/vnd.openxmlformats-officedocument.themeOverride+xml"/>
  <Override PartName="/ppt/theme/themeOverride316.xml" ContentType="application/vnd.openxmlformats-officedocument.themeOverride+xml"/>
  <Override PartName="/ppt/theme/themeOverride317.xml" ContentType="application/vnd.openxmlformats-officedocument.themeOverride+xml"/>
  <Override PartName="/ppt/theme/themeOverride318.xml" ContentType="application/vnd.openxmlformats-officedocument.themeOverride+xml"/>
  <Override PartName="/ppt/theme/themeOverride319.xml" ContentType="application/vnd.openxmlformats-officedocument.themeOverride+xml"/>
  <Override PartName="/ppt/theme/themeOverride32.xml" ContentType="application/vnd.openxmlformats-officedocument.themeOverride+xml"/>
  <Override PartName="/ppt/theme/themeOverride320.xml" ContentType="application/vnd.openxmlformats-officedocument.themeOverride+xml"/>
  <Override PartName="/ppt/theme/themeOverride321.xml" ContentType="application/vnd.openxmlformats-officedocument.themeOverride+xml"/>
  <Override PartName="/ppt/theme/themeOverride322.xml" ContentType="application/vnd.openxmlformats-officedocument.themeOverride+xml"/>
  <Override PartName="/ppt/theme/themeOverride323.xml" ContentType="application/vnd.openxmlformats-officedocument.themeOverride+xml"/>
  <Override PartName="/ppt/theme/themeOverride324.xml" ContentType="application/vnd.openxmlformats-officedocument.themeOverride+xml"/>
  <Override PartName="/ppt/theme/themeOverride325.xml" ContentType="application/vnd.openxmlformats-officedocument.themeOverride+xml"/>
  <Override PartName="/ppt/theme/themeOverride326.xml" ContentType="application/vnd.openxmlformats-officedocument.themeOverride+xml"/>
  <Override PartName="/ppt/theme/themeOverride327.xml" ContentType="application/vnd.openxmlformats-officedocument.themeOverride+xml"/>
  <Override PartName="/ppt/theme/themeOverride328.xml" ContentType="application/vnd.openxmlformats-officedocument.themeOverride+xml"/>
  <Override PartName="/ppt/theme/themeOverride329.xml" ContentType="application/vnd.openxmlformats-officedocument.themeOverride+xml"/>
  <Override PartName="/ppt/theme/themeOverride33.xml" ContentType="application/vnd.openxmlformats-officedocument.themeOverride+xml"/>
  <Override PartName="/ppt/theme/themeOverride330.xml" ContentType="application/vnd.openxmlformats-officedocument.themeOverride+xml"/>
  <Override PartName="/ppt/theme/themeOverride331.xml" ContentType="application/vnd.openxmlformats-officedocument.themeOverride+xml"/>
  <Override PartName="/ppt/theme/themeOverride332.xml" ContentType="application/vnd.openxmlformats-officedocument.themeOverride+xml"/>
  <Override PartName="/ppt/theme/themeOverride333.xml" ContentType="application/vnd.openxmlformats-officedocument.themeOverride+xml"/>
  <Override PartName="/ppt/theme/themeOverride334.xml" ContentType="application/vnd.openxmlformats-officedocument.themeOverride+xml"/>
  <Override PartName="/ppt/theme/themeOverride335.xml" ContentType="application/vnd.openxmlformats-officedocument.themeOverride+xml"/>
  <Override PartName="/ppt/theme/themeOverride336.xml" ContentType="application/vnd.openxmlformats-officedocument.themeOverride+xml"/>
  <Override PartName="/ppt/theme/themeOverride337.xml" ContentType="application/vnd.openxmlformats-officedocument.themeOverride+xml"/>
  <Override PartName="/ppt/theme/themeOverride338.xml" ContentType="application/vnd.openxmlformats-officedocument.themeOverride+xml"/>
  <Override PartName="/ppt/theme/themeOverride339.xml" ContentType="application/vnd.openxmlformats-officedocument.themeOverride+xml"/>
  <Override PartName="/ppt/theme/themeOverride34.xml" ContentType="application/vnd.openxmlformats-officedocument.themeOverride+xml"/>
  <Override PartName="/ppt/theme/themeOverride340.xml" ContentType="application/vnd.openxmlformats-officedocument.themeOverride+xml"/>
  <Override PartName="/ppt/theme/themeOverride341.xml" ContentType="application/vnd.openxmlformats-officedocument.themeOverride+xml"/>
  <Override PartName="/ppt/theme/themeOverride342.xml" ContentType="application/vnd.openxmlformats-officedocument.themeOverride+xml"/>
  <Override PartName="/ppt/theme/themeOverride343.xml" ContentType="application/vnd.openxmlformats-officedocument.themeOverride+xml"/>
  <Override PartName="/ppt/theme/themeOverride344.xml" ContentType="application/vnd.openxmlformats-officedocument.themeOverride+xml"/>
  <Override PartName="/ppt/theme/themeOverride345.xml" ContentType="application/vnd.openxmlformats-officedocument.themeOverride+xml"/>
  <Override PartName="/ppt/theme/themeOverride346.xml" ContentType="application/vnd.openxmlformats-officedocument.themeOverride+xml"/>
  <Override PartName="/ppt/theme/themeOverride347.xml" ContentType="application/vnd.openxmlformats-officedocument.themeOverride+xml"/>
  <Override PartName="/ppt/theme/themeOverride348.xml" ContentType="application/vnd.openxmlformats-officedocument.themeOverride+xml"/>
  <Override PartName="/ppt/theme/themeOverride349.xml" ContentType="application/vnd.openxmlformats-officedocument.themeOverride+xml"/>
  <Override PartName="/ppt/theme/themeOverride35.xml" ContentType="application/vnd.openxmlformats-officedocument.themeOverride+xml"/>
  <Override PartName="/ppt/theme/themeOverride350.xml" ContentType="application/vnd.openxmlformats-officedocument.themeOverride+xml"/>
  <Override PartName="/ppt/theme/themeOverride351.xml" ContentType="application/vnd.openxmlformats-officedocument.themeOverride+xml"/>
  <Override PartName="/ppt/theme/themeOverride352.xml" ContentType="application/vnd.openxmlformats-officedocument.themeOverride+xml"/>
  <Override PartName="/ppt/theme/themeOverride353.xml" ContentType="application/vnd.openxmlformats-officedocument.themeOverride+xml"/>
  <Override PartName="/ppt/theme/themeOverride354.xml" ContentType="application/vnd.openxmlformats-officedocument.themeOverride+xml"/>
  <Override PartName="/ppt/theme/themeOverride355.xml" ContentType="application/vnd.openxmlformats-officedocument.themeOverride+xml"/>
  <Override PartName="/ppt/theme/themeOverride356.xml" ContentType="application/vnd.openxmlformats-officedocument.themeOverride+xml"/>
  <Override PartName="/ppt/theme/themeOverride357.xml" ContentType="application/vnd.openxmlformats-officedocument.themeOverride+xml"/>
  <Override PartName="/ppt/theme/themeOverride358.xml" ContentType="application/vnd.openxmlformats-officedocument.themeOverride+xml"/>
  <Override PartName="/ppt/theme/themeOverride359.xml" ContentType="application/vnd.openxmlformats-officedocument.themeOverride+xml"/>
  <Override PartName="/ppt/theme/themeOverride36.xml" ContentType="application/vnd.openxmlformats-officedocument.themeOverride+xml"/>
  <Override PartName="/ppt/theme/themeOverride360.xml" ContentType="application/vnd.openxmlformats-officedocument.themeOverride+xml"/>
  <Override PartName="/ppt/theme/themeOverride361.xml" ContentType="application/vnd.openxmlformats-officedocument.themeOverride+xml"/>
  <Override PartName="/ppt/theme/themeOverride362.xml" ContentType="application/vnd.openxmlformats-officedocument.themeOverride+xml"/>
  <Override PartName="/ppt/theme/themeOverride363.xml" ContentType="application/vnd.openxmlformats-officedocument.themeOverride+xml"/>
  <Override PartName="/ppt/theme/themeOverride364.xml" ContentType="application/vnd.openxmlformats-officedocument.themeOverride+xml"/>
  <Override PartName="/ppt/theme/themeOverride365.xml" ContentType="application/vnd.openxmlformats-officedocument.themeOverride+xml"/>
  <Override PartName="/ppt/theme/themeOverride366.xml" ContentType="application/vnd.openxmlformats-officedocument.themeOverride+xml"/>
  <Override PartName="/ppt/theme/themeOverride367.xml" ContentType="application/vnd.openxmlformats-officedocument.themeOverride+xml"/>
  <Override PartName="/ppt/theme/themeOverride368.xml" ContentType="application/vnd.openxmlformats-officedocument.themeOverride+xml"/>
  <Override PartName="/ppt/theme/themeOverride369.xml" ContentType="application/vnd.openxmlformats-officedocument.themeOverride+xml"/>
  <Override PartName="/ppt/theme/themeOverride37.xml" ContentType="application/vnd.openxmlformats-officedocument.themeOverride+xml"/>
  <Override PartName="/ppt/theme/themeOverride370.xml" ContentType="application/vnd.openxmlformats-officedocument.themeOverride+xml"/>
  <Override PartName="/ppt/theme/themeOverride371.xml" ContentType="application/vnd.openxmlformats-officedocument.themeOverride+xml"/>
  <Override PartName="/ppt/theme/themeOverride372.xml" ContentType="application/vnd.openxmlformats-officedocument.themeOverride+xml"/>
  <Override PartName="/ppt/theme/themeOverride373.xml" ContentType="application/vnd.openxmlformats-officedocument.themeOverride+xml"/>
  <Override PartName="/ppt/theme/themeOverride374.xml" ContentType="application/vnd.openxmlformats-officedocument.themeOverride+xml"/>
  <Override PartName="/ppt/theme/themeOverride375.xml" ContentType="application/vnd.openxmlformats-officedocument.themeOverride+xml"/>
  <Override PartName="/ppt/theme/themeOverride376.xml" ContentType="application/vnd.openxmlformats-officedocument.themeOverride+xml"/>
  <Override PartName="/ppt/theme/themeOverride377.xml" ContentType="application/vnd.openxmlformats-officedocument.themeOverride+xml"/>
  <Override PartName="/ppt/theme/themeOverride378.xml" ContentType="application/vnd.openxmlformats-officedocument.themeOverride+xml"/>
  <Override PartName="/ppt/theme/themeOverride379.xml" ContentType="application/vnd.openxmlformats-officedocument.themeOverride+xml"/>
  <Override PartName="/ppt/theme/themeOverride38.xml" ContentType="application/vnd.openxmlformats-officedocument.themeOverride+xml"/>
  <Override PartName="/ppt/theme/themeOverride380.xml" ContentType="application/vnd.openxmlformats-officedocument.themeOverride+xml"/>
  <Override PartName="/ppt/theme/themeOverride381.xml" ContentType="application/vnd.openxmlformats-officedocument.themeOverride+xml"/>
  <Override PartName="/ppt/theme/themeOverride382.xml" ContentType="application/vnd.openxmlformats-officedocument.themeOverride+xml"/>
  <Override PartName="/ppt/theme/themeOverride383.xml" ContentType="application/vnd.openxmlformats-officedocument.themeOverride+xml"/>
  <Override PartName="/ppt/theme/themeOverride384.xml" ContentType="application/vnd.openxmlformats-officedocument.themeOverride+xml"/>
  <Override PartName="/ppt/theme/themeOverride385.xml" ContentType="application/vnd.openxmlformats-officedocument.themeOverride+xml"/>
  <Override PartName="/ppt/theme/themeOverride386.xml" ContentType="application/vnd.openxmlformats-officedocument.themeOverride+xml"/>
  <Override PartName="/ppt/theme/themeOverride387.xml" ContentType="application/vnd.openxmlformats-officedocument.themeOverride+xml"/>
  <Override PartName="/ppt/theme/themeOverride388.xml" ContentType="application/vnd.openxmlformats-officedocument.themeOverride+xml"/>
  <Override PartName="/ppt/theme/themeOverride389.xml" ContentType="application/vnd.openxmlformats-officedocument.themeOverride+xml"/>
  <Override PartName="/ppt/theme/themeOverride39.xml" ContentType="application/vnd.openxmlformats-officedocument.themeOverride+xml"/>
  <Override PartName="/ppt/theme/themeOverride390.xml" ContentType="application/vnd.openxmlformats-officedocument.themeOverride+xml"/>
  <Override PartName="/ppt/theme/themeOverride391.xml" ContentType="application/vnd.openxmlformats-officedocument.themeOverride+xml"/>
  <Override PartName="/ppt/theme/themeOverride392.xml" ContentType="application/vnd.openxmlformats-officedocument.themeOverride+xml"/>
  <Override PartName="/ppt/theme/themeOverride393.xml" ContentType="application/vnd.openxmlformats-officedocument.themeOverride+xml"/>
  <Override PartName="/ppt/theme/themeOverride394.xml" ContentType="application/vnd.openxmlformats-officedocument.themeOverride+xml"/>
  <Override PartName="/ppt/theme/themeOverride395.xml" ContentType="application/vnd.openxmlformats-officedocument.themeOverride+xml"/>
  <Override PartName="/ppt/theme/themeOverride396.xml" ContentType="application/vnd.openxmlformats-officedocument.themeOverride+xml"/>
  <Override PartName="/ppt/theme/themeOverride397.xml" ContentType="application/vnd.openxmlformats-officedocument.themeOverride+xml"/>
  <Override PartName="/ppt/theme/themeOverride398.xml" ContentType="application/vnd.openxmlformats-officedocument.themeOverride+xml"/>
  <Override PartName="/ppt/theme/themeOverride39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00.xml" ContentType="application/vnd.openxmlformats-officedocument.themeOverride+xml"/>
  <Override PartName="/ppt/theme/themeOverride401.xml" ContentType="application/vnd.openxmlformats-officedocument.themeOverride+xml"/>
  <Override PartName="/ppt/theme/themeOverride402.xml" ContentType="application/vnd.openxmlformats-officedocument.themeOverride+xml"/>
  <Override PartName="/ppt/theme/themeOverride403.xml" ContentType="application/vnd.openxmlformats-officedocument.themeOverride+xml"/>
  <Override PartName="/ppt/theme/themeOverride404.xml" ContentType="application/vnd.openxmlformats-officedocument.themeOverride+xml"/>
  <Override PartName="/ppt/theme/themeOverride405.xml" ContentType="application/vnd.openxmlformats-officedocument.themeOverride+xml"/>
  <Override PartName="/ppt/theme/themeOverride406.xml" ContentType="application/vnd.openxmlformats-officedocument.themeOverride+xml"/>
  <Override PartName="/ppt/theme/themeOverride407.xml" ContentType="application/vnd.openxmlformats-officedocument.themeOverride+xml"/>
  <Override PartName="/ppt/theme/themeOverride408.xml" ContentType="application/vnd.openxmlformats-officedocument.themeOverride+xml"/>
  <Override PartName="/ppt/theme/themeOverride409.xml" ContentType="application/vnd.openxmlformats-officedocument.themeOverride+xml"/>
  <Override PartName="/ppt/theme/themeOverride41.xml" ContentType="application/vnd.openxmlformats-officedocument.themeOverride+xml"/>
  <Override PartName="/ppt/theme/themeOverride410.xml" ContentType="application/vnd.openxmlformats-officedocument.themeOverride+xml"/>
  <Override PartName="/ppt/theme/themeOverride411.xml" ContentType="application/vnd.openxmlformats-officedocument.themeOverride+xml"/>
  <Override PartName="/ppt/theme/themeOverride412.xml" ContentType="application/vnd.openxmlformats-officedocument.themeOverride+xml"/>
  <Override PartName="/ppt/theme/themeOverride413.xml" ContentType="application/vnd.openxmlformats-officedocument.themeOverride+xml"/>
  <Override PartName="/ppt/theme/themeOverride414.xml" ContentType="application/vnd.openxmlformats-officedocument.themeOverride+xml"/>
  <Override PartName="/ppt/theme/themeOverride415.xml" ContentType="application/vnd.openxmlformats-officedocument.themeOverride+xml"/>
  <Override PartName="/ppt/theme/themeOverride416.xml" ContentType="application/vnd.openxmlformats-officedocument.themeOverride+xml"/>
  <Override PartName="/ppt/theme/themeOverride417.xml" ContentType="application/vnd.openxmlformats-officedocument.themeOverride+xml"/>
  <Override PartName="/ppt/theme/themeOverride418.xml" ContentType="application/vnd.openxmlformats-officedocument.themeOverride+xml"/>
  <Override PartName="/ppt/theme/themeOverride419.xml" ContentType="application/vnd.openxmlformats-officedocument.themeOverride+xml"/>
  <Override PartName="/ppt/theme/themeOverride42.xml" ContentType="application/vnd.openxmlformats-officedocument.themeOverride+xml"/>
  <Override PartName="/ppt/theme/themeOverride420.xml" ContentType="application/vnd.openxmlformats-officedocument.themeOverride+xml"/>
  <Override PartName="/ppt/theme/themeOverride421.xml" ContentType="application/vnd.openxmlformats-officedocument.themeOverride+xml"/>
  <Override PartName="/ppt/theme/themeOverride422.xml" ContentType="application/vnd.openxmlformats-officedocument.themeOverride+xml"/>
  <Override PartName="/ppt/theme/themeOverride423.xml" ContentType="application/vnd.openxmlformats-officedocument.themeOverride+xml"/>
  <Override PartName="/ppt/theme/themeOverride424.xml" ContentType="application/vnd.openxmlformats-officedocument.themeOverride+xml"/>
  <Override PartName="/ppt/theme/themeOverride425.xml" ContentType="application/vnd.openxmlformats-officedocument.themeOverride+xml"/>
  <Override PartName="/ppt/theme/themeOverride426.xml" ContentType="application/vnd.openxmlformats-officedocument.themeOverride+xml"/>
  <Override PartName="/ppt/theme/themeOverride427.xml" ContentType="application/vnd.openxmlformats-officedocument.themeOverride+xml"/>
  <Override PartName="/ppt/theme/themeOverride428.xml" ContentType="application/vnd.openxmlformats-officedocument.themeOverride+xml"/>
  <Override PartName="/ppt/theme/themeOverride429.xml" ContentType="application/vnd.openxmlformats-officedocument.themeOverride+xml"/>
  <Override PartName="/ppt/theme/themeOverride43.xml" ContentType="application/vnd.openxmlformats-officedocument.themeOverride+xml"/>
  <Override PartName="/ppt/theme/themeOverride430.xml" ContentType="application/vnd.openxmlformats-officedocument.themeOverride+xml"/>
  <Override PartName="/ppt/theme/themeOverride431.xml" ContentType="application/vnd.openxmlformats-officedocument.themeOverride+xml"/>
  <Override PartName="/ppt/theme/themeOverride432.xml" ContentType="application/vnd.openxmlformats-officedocument.themeOverride+xml"/>
  <Override PartName="/ppt/theme/themeOverride433.xml" ContentType="application/vnd.openxmlformats-officedocument.themeOverride+xml"/>
  <Override PartName="/ppt/theme/themeOverride434.xml" ContentType="application/vnd.openxmlformats-officedocument.themeOverride+xml"/>
  <Override PartName="/ppt/theme/themeOverride435.xml" ContentType="application/vnd.openxmlformats-officedocument.themeOverride+xml"/>
  <Override PartName="/ppt/theme/themeOverride436.xml" ContentType="application/vnd.openxmlformats-officedocument.themeOverride+xml"/>
  <Override PartName="/ppt/theme/themeOverride437.xml" ContentType="application/vnd.openxmlformats-officedocument.themeOverride+xml"/>
  <Override PartName="/ppt/theme/themeOverride438.xml" ContentType="application/vnd.openxmlformats-officedocument.themeOverride+xml"/>
  <Override PartName="/ppt/theme/themeOverride439.xml" ContentType="application/vnd.openxmlformats-officedocument.themeOverride+xml"/>
  <Override PartName="/ppt/theme/themeOverride44.xml" ContentType="application/vnd.openxmlformats-officedocument.themeOverride+xml"/>
  <Override PartName="/ppt/theme/themeOverride440.xml" ContentType="application/vnd.openxmlformats-officedocument.themeOverride+xml"/>
  <Override PartName="/ppt/theme/themeOverride441.xml" ContentType="application/vnd.openxmlformats-officedocument.themeOverride+xml"/>
  <Override PartName="/ppt/theme/themeOverride442.xml" ContentType="application/vnd.openxmlformats-officedocument.themeOverride+xml"/>
  <Override PartName="/ppt/theme/themeOverride443.xml" ContentType="application/vnd.openxmlformats-officedocument.themeOverride+xml"/>
  <Override PartName="/ppt/theme/themeOverride444.xml" ContentType="application/vnd.openxmlformats-officedocument.themeOverride+xml"/>
  <Override PartName="/ppt/theme/themeOverride445.xml" ContentType="application/vnd.openxmlformats-officedocument.themeOverride+xml"/>
  <Override PartName="/ppt/theme/themeOverride446.xml" ContentType="application/vnd.openxmlformats-officedocument.themeOverride+xml"/>
  <Override PartName="/ppt/theme/themeOverride447.xml" ContentType="application/vnd.openxmlformats-officedocument.themeOverride+xml"/>
  <Override PartName="/ppt/theme/themeOverride448.xml" ContentType="application/vnd.openxmlformats-officedocument.themeOverride+xml"/>
  <Override PartName="/ppt/theme/themeOverride449.xml" ContentType="application/vnd.openxmlformats-officedocument.themeOverride+xml"/>
  <Override PartName="/ppt/theme/themeOverride45.xml" ContentType="application/vnd.openxmlformats-officedocument.themeOverride+xml"/>
  <Override PartName="/ppt/theme/themeOverride450.xml" ContentType="application/vnd.openxmlformats-officedocument.themeOverride+xml"/>
  <Override PartName="/ppt/theme/themeOverride451.xml" ContentType="application/vnd.openxmlformats-officedocument.themeOverride+xml"/>
  <Override PartName="/ppt/theme/themeOverride452.xml" ContentType="application/vnd.openxmlformats-officedocument.themeOverride+xml"/>
  <Override PartName="/ppt/theme/themeOverride453.xml" ContentType="application/vnd.openxmlformats-officedocument.themeOverride+xml"/>
  <Override PartName="/ppt/theme/themeOverride454.xml" ContentType="application/vnd.openxmlformats-officedocument.themeOverride+xml"/>
  <Override PartName="/ppt/theme/themeOverride455.xml" ContentType="application/vnd.openxmlformats-officedocument.themeOverride+xml"/>
  <Override PartName="/ppt/theme/themeOverride456.xml" ContentType="application/vnd.openxmlformats-officedocument.themeOverride+xml"/>
  <Override PartName="/ppt/theme/themeOverride457.xml" ContentType="application/vnd.openxmlformats-officedocument.themeOverride+xml"/>
  <Override PartName="/ppt/theme/themeOverride458.xml" ContentType="application/vnd.openxmlformats-officedocument.themeOverride+xml"/>
  <Override PartName="/ppt/theme/themeOverride459.xml" ContentType="application/vnd.openxmlformats-officedocument.themeOverride+xml"/>
  <Override PartName="/ppt/theme/themeOverride46.xml" ContentType="application/vnd.openxmlformats-officedocument.themeOverride+xml"/>
  <Override PartName="/ppt/theme/themeOverride460.xml" ContentType="application/vnd.openxmlformats-officedocument.themeOverride+xml"/>
  <Override PartName="/ppt/theme/themeOverride461.xml" ContentType="application/vnd.openxmlformats-officedocument.themeOverride+xml"/>
  <Override PartName="/ppt/theme/themeOverride462.xml" ContentType="application/vnd.openxmlformats-officedocument.themeOverride+xml"/>
  <Override PartName="/ppt/theme/themeOverride463.xml" ContentType="application/vnd.openxmlformats-officedocument.themeOverride+xml"/>
  <Override PartName="/ppt/theme/themeOverride464.xml" ContentType="application/vnd.openxmlformats-officedocument.themeOverride+xml"/>
  <Override PartName="/ppt/theme/themeOverride465.xml" ContentType="application/vnd.openxmlformats-officedocument.themeOverride+xml"/>
  <Override PartName="/ppt/theme/themeOverride466.xml" ContentType="application/vnd.openxmlformats-officedocument.themeOverride+xml"/>
  <Override PartName="/ppt/theme/themeOverride467.xml" ContentType="application/vnd.openxmlformats-officedocument.themeOverride+xml"/>
  <Override PartName="/ppt/theme/themeOverride468.xml" ContentType="application/vnd.openxmlformats-officedocument.themeOverride+xml"/>
  <Override PartName="/ppt/theme/themeOverride469.xml" ContentType="application/vnd.openxmlformats-officedocument.themeOverride+xml"/>
  <Override PartName="/ppt/theme/themeOverride47.xml" ContentType="application/vnd.openxmlformats-officedocument.themeOverride+xml"/>
  <Override PartName="/ppt/theme/themeOverride470.xml" ContentType="application/vnd.openxmlformats-officedocument.themeOverride+xml"/>
  <Override PartName="/ppt/theme/themeOverride471.xml" ContentType="application/vnd.openxmlformats-officedocument.themeOverride+xml"/>
  <Override PartName="/ppt/theme/themeOverride472.xml" ContentType="application/vnd.openxmlformats-officedocument.themeOverride+xml"/>
  <Override PartName="/ppt/theme/themeOverride473.xml" ContentType="application/vnd.openxmlformats-officedocument.themeOverride+xml"/>
  <Override PartName="/ppt/theme/themeOverride474.xml" ContentType="application/vnd.openxmlformats-officedocument.themeOverride+xml"/>
  <Override PartName="/ppt/theme/themeOverride475.xml" ContentType="application/vnd.openxmlformats-officedocument.themeOverride+xml"/>
  <Override PartName="/ppt/theme/themeOverride476.xml" ContentType="application/vnd.openxmlformats-officedocument.themeOverride+xml"/>
  <Override PartName="/ppt/theme/themeOverride477.xml" ContentType="application/vnd.openxmlformats-officedocument.themeOverride+xml"/>
  <Override PartName="/ppt/theme/themeOverride478.xml" ContentType="application/vnd.openxmlformats-officedocument.themeOverride+xml"/>
  <Override PartName="/ppt/theme/themeOverride479.xml" ContentType="application/vnd.openxmlformats-officedocument.themeOverride+xml"/>
  <Override PartName="/ppt/theme/themeOverride48.xml" ContentType="application/vnd.openxmlformats-officedocument.themeOverride+xml"/>
  <Override PartName="/ppt/theme/themeOverride480.xml" ContentType="application/vnd.openxmlformats-officedocument.themeOverride+xml"/>
  <Override PartName="/ppt/theme/themeOverride481.xml" ContentType="application/vnd.openxmlformats-officedocument.themeOverride+xml"/>
  <Override PartName="/ppt/theme/themeOverride482.xml" ContentType="application/vnd.openxmlformats-officedocument.themeOverride+xml"/>
  <Override PartName="/ppt/theme/themeOverride483.xml" ContentType="application/vnd.openxmlformats-officedocument.themeOverride+xml"/>
  <Override PartName="/ppt/theme/themeOverride484.xml" ContentType="application/vnd.openxmlformats-officedocument.themeOverride+xml"/>
  <Override PartName="/ppt/theme/themeOverride485.xml" ContentType="application/vnd.openxmlformats-officedocument.themeOverride+xml"/>
  <Override PartName="/ppt/theme/themeOverride486.xml" ContentType="application/vnd.openxmlformats-officedocument.themeOverride+xml"/>
  <Override PartName="/ppt/theme/themeOverride487.xml" ContentType="application/vnd.openxmlformats-officedocument.themeOverride+xml"/>
  <Override PartName="/ppt/theme/themeOverride488.xml" ContentType="application/vnd.openxmlformats-officedocument.themeOverride+xml"/>
  <Override PartName="/ppt/theme/themeOverride489.xml" ContentType="application/vnd.openxmlformats-officedocument.themeOverride+xml"/>
  <Override PartName="/ppt/theme/themeOverride49.xml" ContentType="application/vnd.openxmlformats-officedocument.themeOverride+xml"/>
  <Override PartName="/ppt/theme/themeOverride490.xml" ContentType="application/vnd.openxmlformats-officedocument.themeOverride+xml"/>
  <Override PartName="/ppt/theme/themeOverride491.xml" ContentType="application/vnd.openxmlformats-officedocument.themeOverride+xml"/>
  <Override PartName="/ppt/theme/themeOverride492.xml" ContentType="application/vnd.openxmlformats-officedocument.themeOverride+xml"/>
  <Override PartName="/ppt/theme/themeOverride493.xml" ContentType="application/vnd.openxmlformats-officedocument.themeOverride+xml"/>
  <Override PartName="/ppt/theme/themeOverride494.xml" ContentType="application/vnd.openxmlformats-officedocument.themeOverride+xml"/>
  <Override PartName="/ppt/theme/themeOverride495.xml" ContentType="application/vnd.openxmlformats-officedocument.themeOverride+xml"/>
  <Override PartName="/ppt/theme/themeOverride496.xml" ContentType="application/vnd.openxmlformats-officedocument.themeOverride+xml"/>
  <Override PartName="/ppt/theme/themeOverride497.xml" ContentType="application/vnd.openxmlformats-officedocument.themeOverride+xml"/>
  <Override PartName="/ppt/theme/themeOverride498.xml" ContentType="application/vnd.openxmlformats-officedocument.themeOverride+xml"/>
  <Override PartName="/ppt/theme/themeOverride49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00.xml" ContentType="application/vnd.openxmlformats-officedocument.themeOverride+xml"/>
  <Override PartName="/ppt/theme/themeOverride501.xml" ContentType="application/vnd.openxmlformats-officedocument.themeOverride+xml"/>
  <Override PartName="/ppt/theme/themeOverride502.xml" ContentType="application/vnd.openxmlformats-officedocument.themeOverride+xml"/>
  <Override PartName="/ppt/theme/themeOverride503.xml" ContentType="application/vnd.openxmlformats-officedocument.themeOverride+xml"/>
  <Override PartName="/ppt/theme/themeOverride504.xml" ContentType="application/vnd.openxmlformats-officedocument.themeOverride+xml"/>
  <Override PartName="/ppt/theme/themeOverride505.xml" ContentType="application/vnd.openxmlformats-officedocument.themeOverride+xml"/>
  <Override PartName="/ppt/theme/themeOverride506.xml" ContentType="application/vnd.openxmlformats-officedocument.themeOverride+xml"/>
  <Override PartName="/ppt/theme/themeOverride507.xml" ContentType="application/vnd.openxmlformats-officedocument.themeOverride+xml"/>
  <Override PartName="/ppt/theme/themeOverride508.xml" ContentType="application/vnd.openxmlformats-officedocument.themeOverride+xml"/>
  <Override PartName="/ppt/theme/themeOverride509.xml" ContentType="application/vnd.openxmlformats-officedocument.themeOverride+xml"/>
  <Override PartName="/ppt/theme/themeOverride51.xml" ContentType="application/vnd.openxmlformats-officedocument.themeOverride+xml"/>
  <Override PartName="/ppt/theme/themeOverride510.xml" ContentType="application/vnd.openxmlformats-officedocument.themeOverride+xml"/>
  <Override PartName="/ppt/theme/themeOverride511.xml" ContentType="application/vnd.openxmlformats-officedocument.themeOverride+xml"/>
  <Override PartName="/ppt/theme/themeOverride512.xml" ContentType="application/vnd.openxmlformats-officedocument.themeOverride+xml"/>
  <Override PartName="/ppt/theme/themeOverride513.xml" ContentType="application/vnd.openxmlformats-officedocument.themeOverride+xml"/>
  <Override PartName="/ppt/theme/themeOverride514.xml" ContentType="application/vnd.openxmlformats-officedocument.themeOverride+xml"/>
  <Override PartName="/ppt/theme/themeOverride515.xml" ContentType="application/vnd.openxmlformats-officedocument.themeOverride+xml"/>
  <Override PartName="/ppt/theme/themeOverride516.xml" ContentType="application/vnd.openxmlformats-officedocument.themeOverride+xml"/>
  <Override PartName="/ppt/theme/themeOverride517.xml" ContentType="application/vnd.openxmlformats-officedocument.themeOverride+xml"/>
  <Override PartName="/ppt/theme/themeOverride518.xml" ContentType="application/vnd.openxmlformats-officedocument.themeOverride+xml"/>
  <Override PartName="/ppt/theme/themeOverride519.xml" ContentType="application/vnd.openxmlformats-officedocument.themeOverride+xml"/>
  <Override PartName="/ppt/theme/themeOverride52.xml" ContentType="application/vnd.openxmlformats-officedocument.themeOverride+xml"/>
  <Override PartName="/ppt/theme/themeOverride520.xml" ContentType="application/vnd.openxmlformats-officedocument.themeOverride+xml"/>
  <Override PartName="/ppt/theme/themeOverride521.xml" ContentType="application/vnd.openxmlformats-officedocument.themeOverride+xml"/>
  <Override PartName="/ppt/theme/themeOverride522.xml" ContentType="application/vnd.openxmlformats-officedocument.themeOverride+xml"/>
  <Override PartName="/ppt/theme/themeOverride523.xml" ContentType="application/vnd.openxmlformats-officedocument.themeOverride+xml"/>
  <Override PartName="/ppt/theme/themeOverride524.xml" ContentType="application/vnd.openxmlformats-officedocument.themeOverride+xml"/>
  <Override PartName="/ppt/theme/themeOverride525.xml" ContentType="application/vnd.openxmlformats-officedocument.themeOverride+xml"/>
  <Override PartName="/ppt/theme/themeOverride526.xml" ContentType="application/vnd.openxmlformats-officedocument.themeOverride+xml"/>
  <Override PartName="/ppt/theme/themeOverride527.xml" ContentType="application/vnd.openxmlformats-officedocument.themeOverride+xml"/>
  <Override PartName="/ppt/theme/themeOverride528.xml" ContentType="application/vnd.openxmlformats-officedocument.themeOverride+xml"/>
  <Override PartName="/ppt/theme/themeOverride529.xml" ContentType="application/vnd.openxmlformats-officedocument.themeOverride+xml"/>
  <Override PartName="/ppt/theme/themeOverride53.xml" ContentType="application/vnd.openxmlformats-officedocument.themeOverride+xml"/>
  <Override PartName="/ppt/theme/themeOverride530.xml" ContentType="application/vnd.openxmlformats-officedocument.themeOverride+xml"/>
  <Override PartName="/ppt/theme/themeOverride531.xml" ContentType="application/vnd.openxmlformats-officedocument.themeOverride+xml"/>
  <Override PartName="/ppt/theme/themeOverride532.xml" ContentType="application/vnd.openxmlformats-officedocument.themeOverride+xml"/>
  <Override PartName="/ppt/theme/themeOverride533.xml" ContentType="application/vnd.openxmlformats-officedocument.themeOverride+xml"/>
  <Override PartName="/ppt/theme/themeOverride534.xml" ContentType="application/vnd.openxmlformats-officedocument.themeOverride+xml"/>
  <Override PartName="/ppt/theme/themeOverride535.xml" ContentType="application/vnd.openxmlformats-officedocument.themeOverride+xml"/>
  <Override PartName="/ppt/theme/themeOverride536.xml" ContentType="application/vnd.openxmlformats-officedocument.themeOverride+xml"/>
  <Override PartName="/ppt/theme/themeOverride537.xml" ContentType="application/vnd.openxmlformats-officedocument.themeOverride+xml"/>
  <Override PartName="/ppt/theme/themeOverride538.xml" ContentType="application/vnd.openxmlformats-officedocument.themeOverride+xml"/>
  <Override PartName="/ppt/theme/themeOverride539.xml" ContentType="application/vnd.openxmlformats-officedocument.themeOverride+xml"/>
  <Override PartName="/ppt/theme/themeOverride54.xml" ContentType="application/vnd.openxmlformats-officedocument.themeOverride+xml"/>
  <Override PartName="/ppt/theme/themeOverride540.xml" ContentType="application/vnd.openxmlformats-officedocument.themeOverride+xml"/>
  <Override PartName="/ppt/theme/themeOverride541.xml" ContentType="application/vnd.openxmlformats-officedocument.themeOverride+xml"/>
  <Override PartName="/ppt/theme/themeOverride542.xml" ContentType="application/vnd.openxmlformats-officedocument.themeOverride+xml"/>
  <Override PartName="/ppt/theme/themeOverride543.xml" ContentType="application/vnd.openxmlformats-officedocument.themeOverride+xml"/>
  <Override PartName="/ppt/theme/themeOverride544.xml" ContentType="application/vnd.openxmlformats-officedocument.themeOverride+xml"/>
  <Override PartName="/ppt/theme/themeOverride545.xml" ContentType="application/vnd.openxmlformats-officedocument.themeOverride+xml"/>
  <Override PartName="/ppt/theme/themeOverride546.xml" ContentType="application/vnd.openxmlformats-officedocument.themeOverride+xml"/>
  <Override PartName="/ppt/theme/themeOverride547.xml" ContentType="application/vnd.openxmlformats-officedocument.themeOverride+xml"/>
  <Override PartName="/ppt/theme/themeOverride548.xml" ContentType="application/vnd.openxmlformats-officedocument.themeOverride+xml"/>
  <Override PartName="/ppt/theme/themeOverride549.xml" ContentType="application/vnd.openxmlformats-officedocument.themeOverride+xml"/>
  <Override PartName="/ppt/theme/themeOverride55.xml" ContentType="application/vnd.openxmlformats-officedocument.themeOverride+xml"/>
  <Override PartName="/ppt/theme/themeOverride550.xml" ContentType="application/vnd.openxmlformats-officedocument.themeOverride+xml"/>
  <Override PartName="/ppt/theme/themeOverride551.xml" ContentType="application/vnd.openxmlformats-officedocument.themeOverride+xml"/>
  <Override PartName="/ppt/theme/themeOverride552.xml" ContentType="application/vnd.openxmlformats-officedocument.themeOverride+xml"/>
  <Override PartName="/ppt/theme/themeOverride553.xml" ContentType="application/vnd.openxmlformats-officedocument.themeOverride+xml"/>
  <Override PartName="/ppt/theme/themeOverride554.xml" ContentType="application/vnd.openxmlformats-officedocument.themeOverride+xml"/>
  <Override PartName="/ppt/theme/themeOverride555.xml" ContentType="application/vnd.openxmlformats-officedocument.themeOverride+xml"/>
  <Override PartName="/ppt/theme/themeOverride556.xml" ContentType="application/vnd.openxmlformats-officedocument.themeOverride+xml"/>
  <Override PartName="/ppt/theme/themeOverride557.xml" ContentType="application/vnd.openxmlformats-officedocument.themeOverride+xml"/>
  <Override PartName="/ppt/theme/themeOverride558.xml" ContentType="application/vnd.openxmlformats-officedocument.themeOverride+xml"/>
  <Override PartName="/ppt/theme/themeOverride559.xml" ContentType="application/vnd.openxmlformats-officedocument.themeOverride+xml"/>
  <Override PartName="/ppt/theme/themeOverride56.xml" ContentType="application/vnd.openxmlformats-officedocument.themeOverride+xml"/>
  <Override PartName="/ppt/theme/themeOverride560.xml" ContentType="application/vnd.openxmlformats-officedocument.themeOverride+xml"/>
  <Override PartName="/ppt/theme/themeOverride561.xml" ContentType="application/vnd.openxmlformats-officedocument.themeOverride+xml"/>
  <Override PartName="/ppt/theme/themeOverride562.xml" ContentType="application/vnd.openxmlformats-officedocument.themeOverride+xml"/>
  <Override PartName="/ppt/theme/themeOverride563.xml" ContentType="application/vnd.openxmlformats-officedocument.themeOverride+xml"/>
  <Override PartName="/ppt/theme/themeOverride564.xml" ContentType="application/vnd.openxmlformats-officedocument.themeOverride+xml"/>
  <Override PartName="/ppt/theme/themeOverride565.xml" ContentType="application/vnd.openxmlformats-officedocument.themeOverride+xml"/>
  <Override PartName="/ppt/theme/themeOverride566.xml" ContentType="application/vnd.openxmlformats-officedocument.themeOverride+xml"/>
  <Override PartName="/ppt/theme/themeOverride567.xml" ContentType="application/vnd.openxmlformats-officedocument.themeOverride+xml"/>
  <Override PartName="/ppt/theme/themeOverride568.xml" ContentType="application/vnd.openxmlformats-officedocument.themeOverride+xml"/>
  <Override PartName="/ppt/theme/themeOverride569.xml" ContentType="application/vnd.openxmlformats-officedocument.themeOverride+xml"/>
  <Override PartName="/ppt/theme/themeOverride57.xml" ContentType="application/vnd.openxmlformats-officedocument.themeOverride+xml"/>
  <Override PartName="/ppt/theme/themeOverride570.xml" ContentType="application/vnd.openxmlformats-officedocument.themeOverride+xml"/>
  <Override PartName="/ppt/theme/themeOverride571.xml" ContentType="application/vnd.openxmlformats-officedocument.themeOverride+xml"/>
  <Override PartName="/ppt/theme/themeOverride572.xml" ContentType="application/vnd.openxmlformats-officedocument.themeOverride+xml"/>
  <Override PartName="/ppt/theme/themeOverride573.xml" ContentType="application/vnd.openxmlformats-officedocument.themeOverride+xml"/>
  <Override PartName="/ppt/theme/themeOverride574.xml" ContentType="application/vnd.openxmlformats-officedocument.themeOverride+xml"/>
  <Override PartName="/ppt/theme/themeOverride575.xml" ContentType="application/vnd.openxmlformats-officedocument.themeOverride+xml"/>
  <Override PartName="/ppt/theme/themeOverride576.xml" ContentType="application/vnd.openxmlformats-officedocument.themeOverride+xml"/>
  <Override PartName="/ppt/theme/themeOverride577.xml" ContentType="application/vnd.openxmlformats-officedocument.themeOverride+xml"/>
  <Override PartName="/ppt/theme/themeOverride578.xml" ContentType="application/vnd.openxmlformats-officedocument.themeOverride+xml"/>
  <Override PartName="/ppt/theme/themeOverride579.xml" ContentType="application/vnd.openxmlformats-officedocument.themeOverride+xml"/>
  <Override PartName="/ppt/theme/themeOverride58.xml" ContentType="application/vnd.openxmlformats-officedocument.themeOverride+xml"/>
  <Override PartName="/ppt/theme/themeOverride580.xml" ContentType="application/vnd.openxmlformats-officedocument.themeOverride+xml"/>
  <Override PartName="/ppt/theme/themeOverride581.xml" ContentType="application/vnd.openxmlformats-officedocument.themeOverride+xml"/>
  <Override PartName="/ppt/theme/themeOverride582.xml" ContentType="application/vnd.openxmlformats-officedocument.themeOverride+xml"/>
  <Override PartName="/ppt/theme/themeOverride583.xml" ContentType="application/vnd.openxmlformats-officedocument.themeOverride+xml"/>
  <Override PartName="/ppt/theme/themeOverride584.xml" ContentType="application/vnd.openxmlformats-officedocument.themeOverride+xml"/>
  <Override PartName="/ppt/theme/themeOverride585.xml" ContentType="application/vnd.openxmlformats-officedocument.themeOverride+xml"/>
  <Override PartName="/ppt/theme/themeOverride586.xml" ContentType="application/vnd.openxmlformats-officedocument.themeOverride+xml"/>
  <Override PartName="/ppt/theme/themeOverride587.xml" ContentType="application/vnd.openxmlformats-officedocument.themeOverride+xml"/>
  <Override PartName="/ppt/theme/themeOverride588.xml" ContentType="application/vnd.openxmlformats-officedocument.themeOverride+xml"/>
  <Override PartName="/ppt/theme/themeOverride589.xml" ContentType="application/vnd.openxmlformats-officedocument.themeOverride+xml"/>
  <Override PartName="/ppt/theme/themeOverride59.xml" ContentType="application/vnd.openxmlformats-officedocument.themeOverride+xml"/>
  <Override PartName="/ppt/theme/themeOverride590.xml" ContentType="application/vnd.openxmlformats-officedocument.themeOverride+xml"/>
  <Override PartName="/ppt/theme/themeOverride591.xml" ContentType="application/vnd.openxmlformats-officedocument.themeOverride+xml"/>
  <Override PartName="/ppt/theme/themeOverride592.xml" ContentType="application/vnd.openxmlformats-officedocument.themeOverride+xml"/>
  <Override PartName="/ppt/theme/themeOverride593.xml" ContentType="application/vnd.openxmlformats-officedocument.themeOverride+xml"/>
  <Override PartName="/ppt/theme/themeOverride594.xml" ContentType="application/vnd.openxmlformats-officedocument.themeOverride+xml"/>
  <Override PartName="/ppt/theme/themeOverride595.xml" ContentType="application/vnd.openxmlformats-officedocument.themeOverride+xml"/>
  <Override PartName="/ppt/theme/themeOverride596.xml" ContentType="application/vnd.openxmlformats-officedocument.themeOverride+xml"/>
  <Override PartName="/ppt/theme/themeOverride597.xml" ContentType="application/vnd.openxmlformats-officedocument.themeOverride+xml"/>
  <Override PartName="/ppt/theme/themeOverride598.xml" ContentType="application/vnd.openxmlformats-officedocument.themeOverride+xml"/>
  <Override PartName="/ppt/theme/themeOverride59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00.xml" ContentType="application/vnd.openxmlformats-officedocument.themeOverride+xml"/>
  <Override PartName="/ppt/theme/themeOverride601.xml" ContentType="application/vnd.openxmlformats-officedocument.themeOverride+xml"/>
  <Override PartName="/ppt/theme/themeOverride602.xml" ContentType="application/vnd.openxmlformats-officedocument.themeOverride+xml"/>
  <Override PartName="/ppt/theme/themeOverride603.xml" ContentType="application/vnd.openxmlformats-officedocument.themeOverride+xml"/>
  <Override PartName="/ppt/theme/themeOverride604.xml" ContentType="application/vnd.openxmlformats-officedocument.themeOverride+xml"/>
  <Override PartName="/ppt/theme/themeOverride605.xml" ContentType="application/vnd.openxmlformats-officedocument.themeOverride+xml"/>
  <Override PartName="/ppt/theme/themeOverride606.xml" ContentType="application/vnd.openxmlformats-officedocument.themeOverride+xml"/>
  <Override PartName="/ppt/theme/themeOverride607.xml" ContentType="application/vnd.openxmlformats-officedocument.themeOverride+xml"/>
  <Override PartName="/ppt/theme/themeOverride608.xml" ContentType="application/vnd.openxmlformats-officedocument.themeOverride+xml"/>
  <Override PartName="/ppt/theme/themeOverride609.xml" ContentType="application/vnd.openxmlformats-officedocument.themeOverride+xml"/>
  <Override PartName="/ppt/theme/themeOverride61.xml" ContentType="application/vnd.openxmlformats-officedocument.themeOverride+xml"/>
  <Override PartName="/ppt/theme/themeOverride610.xml" ContentType="application/vnd.openxmlformats-officedocument.themeOverride+xml"/>
  <Override PartName="/ppt/theme/themeOverride611.xml" ContentType="application/vnd.openxmlformats-officedocument.themeOverride+xml"/>
  <Override PartName="/ppt/theme/themeOverride612.xml" ContentType="application/vnd.openxmlformats-officedocument.themeOverride+xml"/>
  <Override PartName="/ppt/theme/themeOverride613.xml" ContentType="application/vnd.openxmlformats-officedocument.themeOverride+xml"/>
  <Override PartName="/ppt/theme/themeOverride614.xml" ContentType="application/vnd.openxmlformats-officedocument.themeOverride+xml"/>
  <Override PartName="/ppt/theme/themeOverride615.xml" ContentType="application/vnd.openxmlformats-officedocument.themeOverride+xml"/>
  <Override PartName="/ppt/theme/themeOverride616.xml" ContentType="application/vnd.openxmlformats-officedocument.themeOverride+xml"/>
  <Override PartName="/ppt/theme/themeOverride617.xml" ContentType="application/vnd.openxmlformats-officedocument.themeOverride+xml"/>
  <Override PartName="/ppt/theme/themeOverride618.xml" ContentType="application/vnd.openxmlformats-officedocument.themeOverride+xml"/>
  <Override PartName="/ppt/theme/themeOverride619.xml" ContentType="application/vnd.openxmlformats-officedocument.themeOverride+xml"/>
  <Override PartName="/ppt/theme/themeOverride62.xml" ContentType="application/vnd.openxmlformats-officedocument.themeOverride+xml"/>
  <Override PartName="/ppt/theme/themeOverride620.xml" ContentType="application/vnd.openxmlformats-officedocument.themeOverride+xml"/>
  <Override PartName="/ppt/theme/themeOverride621.xml" ContentType="application/vnd.openxmlformats-officedocument.themeOverride+xml"/>
  <Override PartName="/ppt/theme/themeOverride622.xml" ContentType="application/vnd.openxmlformats-officedocument.themeOverride+xml"/>
  <Override PartName="/ppt/theme/themeOverride623.xml" ContentType="application/vnd.openxmlformats-officedocument.themeOverride+xml"/>
  <Override PartName="/ppt/theme/themeOverride624.xml" ContentType="application/vnd.openxmlformats-officedocument.themeOverride+xml"/>
  <Override PartName="/ppt/theme/themeOverride625.xml" ContentType="application/vnd.openxmlformats-officedocument.themeOverride+xml"/>
  <Override PartName="/ppt/theme/themeOverride626.xml" ContentType="application/vnd.openxmlformats-officedocument.themeOverride+xml"/>
  <Override PartName="/ppt/theme/themeOverride627.xml" ContentType="application/vnd.openxmlformats-officedocument.themeOverride+xml"/>
  <Override PartName="/ppt/theme/themeOverride628.xml" ContentType="application/vnd.openxmlformats-officedocument.themeOverride+xml"/>
  <Override PartName="/ppt/theme/themeOverride629.xml" ContentType="application/vnd.openxmlformats-officedocument.themeOverride+xml"/>
  <Override PartName="/ppt/theme/themeOverride63.xml" ContentType="application/vnd.openxmlformats-officedocument.themeOverride+xml"/>
  <Override PartName="/ppt/theme/themeOverride630.xml" ContentType="application/vnd.openxmlformats-officedocument.themeOverride+xml"/>
  <Override PartName="/ppt/theme/themeOverride631.xml" ContentType="application/vnd.openxmlformats-officedocument.themeOverride+xml"/>
  <Override PartName="/ppt/theme/themeOverride632.xml" ContentType="application/vnd.openxmlformats-officedocument.themeOverride+xml"/>
  <Override PartName="/ppt/theme/themeOverride633.xml" ContentType="application/vnd.openxmlformats-officedocument.themeOverride+xml"/>
  <Override PartName="/ppt/theme/themeOverride634.xml" ContentType="application/vnd.openxmlformats-officedocument.themeOverride+xml"/>
  <Override PartName="/ppt/theme/themeOverride635.xml" ContentType="application/vnd.openxmlformats-officedocument.themeOverride+xml"/>
  <Override PartName="/ppt/theme/themeOverride636.xml" ContentType="application/vnd.openxmlformats-officedocument.themeOverride+xml"/>
  <Override PartName="/ppt/theme/themeOverride637.xml" ContentType="application/vnd.openxmlformats-officedocument.themeOverride+xml"/>
  <Override PartName="/ppt/theme/themeOverride638.xml" ContentType="application/vnd.openxmlformats-officedocument.themeOverride+xml"/>
  <Override PartName="/ppt/theme/themeOverride639.xml" ContentType="application/vnd.openxmlformats-officedocument.themeOverride+xml"/>
  <Override PartName="/ppt/theme/themeOverride64.xml" ContentType="application/vnd.openxmlformats-officedocument.themeOverride+xml"/>
  <Override PartName="/ppt/theme/themeOverride640.xml" ContentType="application/vnd.openxmlformats-officedocument.themeOverride+xml"/>
  <Override PartName="/ppt/theme/themeOverride641.xml" ContentType="application/vnd.openxmlformats-officedocument.themeOverride+xml"/>
  <Override PartName="/ppt/theme/themeOverride642.xml" ContentType="application/vnd.openxmlformats-officedocument.themeOverride+xml"/>
  <Override PartName="/ppt/theme/themeOverride643.xml" ContentType="application/vnd.openxmlformats-officedocument.themeOverride+xml"/>
  <Override PartName="/ppt/theme/themeOverride644.xml" ContentType="application/vnd.openxmlformats-officedocument.themeOverride+xml"/>
  <Override PartName="/ppt/theme/themeOverride645.xml" ContentType="application/vnd.openxmlformats-officedocument.themeOverride+xml"/>
  <Override PartName="/ppt/theme/themeOverride646.xml" ContentType="application/vnd.openxmlformats-officedocument.themeOverride+xml"/>
  <Override PartName="/ppt/theme/themeOverride647.xml" ContentType="application/vnd.openxmlformats-officedocument.themeOverride+xml"/>
  <Override PartName="/ppt/theme/themeOverride648.xml" ContentType="application/vnd.openxmlformats-officedocument.themeOverride+xml"/>
  <Override PartName="/ppt/theme/themeOverride649.xml" ContentType="application/vnd.openxmlformats-officedocument.themeOverride+xml"/>
  <Override PartName="/ppt/theme/themeOverride65.xml" ContentType="application/vnd.openxmlformats-officedocument.themeOverride+xml"/>
  <Override PartName="/ppt/theme/themeOverride650.xml" ContentType="application/vnd.openxmlformats-officedocument.themeOverride+xml"/>
  <Override PartName="/ppt/theme/themeOverride651.xml" ContentType="application/vnd.openxmlformats-officedocument.themeOverride+xml"/>
  <Override PartName="/ppt/theme/themeOverride652.xml" ContentType="application/vnd.openxmlformats-officedocument.themeOverride+xml"/>
  <Override PartName="/ppt/theme/themeOverride653.xml" ContentType="application/vnd.openxmlformats-officedocument.themeOverride+xml"/>
  <Override PartName="/ppt/theme/themeOverride654.xml" ContentType="application/vnd.openxmlformats-officedocument.themeOverride+xml"/>
  <Override PartName="/ppt/theme/themeOverride655.xml" ContentType="application/vnd.openxmlformats-officedocument.themeOverride+xml"/>
  <Override PartName="/ppt/theme/themeOverride656.xml" ContentType="application/vnd.openxmlformats-officedocument.themeOverride+xml"/>
  <Override PartName="/ppt/theme/themeOverride657.xml" ContentType="application/vnd.openxmlformats-officedocument.themeOverride+xml"/>
  <Override PartName="/ppt/theme/themeOverride658.xml" ContentType="application/vnd.openxmlformats-officedocument.themeOverride+xml"/>
  <Override PartName="/ppt/theme/themeOverride659.xml" ContentType="application/vnd.openxmlformats-officedocument.themeOverride+xml"/>
  <Override PartName="/ppt/theme/themeOverride66.xml" ContentType="application/vnd.openxmlformats-officedocument.themeOverride+xml"/>
  <Override PartName="/ppt/theme/themeOverride660.xml" ContentType="application/vnd.openxmlformats-officedocument.themeOverride+xml"/>
  <Override PartName="/ppt/theme/themeOverride661.xml" ContentType="application/vnd.openxmlformats-officedocument.themeOverride+xml"/>
  <Override PartName="/ppt/theme/themeOverride662.xml" ContentType="application/vnd.openxmlformats-officedocument.themeOverride+xml"/>
  <Override PartName="/ppt/theme/themeOverride663.xml" ContentType="application/vnd.openxmlformats-officedocument.themeOverride+xml"/>
  <Override PartName="/ppt/theme/themeOverride664.xml" ContentType="application/vnd.openxmlformats-officedocument.themeOverride+xml"/>
  <Override PartName="/ppt/theme/themeOverride665.xml" ContentType="application/vnd.openxmlformats-officedocument.themeOverride+xml"/>
  <Override PartName="/ppt/theme/themeOverride666.xml" ContentType="application/vnd.openxmlformats-officedocument.themeOverride+xml"/>
  <Override PartName="/ppt/theme/themeOverride667.xml" ContentType="application/vnd.openxmlformats-officedocument.themeOverride+xml"/>
  <Override PartName="/ppt/theme/themeOverride668.xml" ContentType="application/vnd.openxmlformats-officedocument.themeOverride+xml"/>
  <Override PartName="/ppt/theme/themeOverride669.xml" ContentType="application/vnd.openxmlformats-officedocument.themeOverride+xml"/>
  <Override PartName="/ppt/theme/themeOverride67.xml" ContentType="application/vnd.openxmlformats-officedocument.themeOverride+xml"/>
  <Override PartName="/ppt/theme/themeOverride670.xml" ContentType="application/vnd.openxmlformats-officedocument.themeOverride+xml"/>
  <Override PartName="/ppt/theme/themeOverride671.xml" ContentType="application/vnd.openxmlformats-officedocument.themeOverride+xml"/>
  <Override PartName="/ppt/theme/themeOverride672.xml" ContentType="application/vnd.openxmlformats-officedocument.themeOverride+xml"/>
  <Override PartName="/ppt/theme/themeOverride673.xml" ContentType="application/vnd.openxmlformats-officedocument.themeOverride+xml"/>
  <Override PartName="/ppt/theme/themeOverride674.xml" ContentType="application/vnd.openxmlformats-officedocument.themeOverride+xml"/>
  <Override PartName="/ppt/theme/themeOverride675.xml" ContentType="application/vnd.openxmlformats-officedocument.themeOverride+xml"/>
  <Override PartName="/ppt/theme/themeOverride676.xml" ContentType="application/vnd.openxmlformats-officedocument.themeOverride+xml"/>
  <Override PartName="/ppt/theme/themeOverride677.xml" ContentType="application/vnd.openxmlformats-officedocument.themeOverride+xml"/>
  <Override PartName="/ppt/theme/themeOverride678.xml" ContentType="application/vnd.openxmlformats-officedocument.themeOverride+xml"/>
  <Override PartName="/ppt/theme/themeOverride679.xml" ContentType="application/vnd.openxmlformats-officedocument.themeOverride+xml"/>
  <Override PartName="/ppt/theme/themeOverride68.xml" ContentType="application/vnd.openxmlformats-officedocument.themeOverride+xml"/>
  <Override PartName="/ppt/theme/themeOverride680.xml" ContentType="application/vnd.openxmlformats-officedocument.themeOverride+xml"/>
  <Override PartName="/ppt/theme/themeOverride681.xml" ContentType="application/vnd.openxmlformats-officedocument.themeOverride+xml"/>
  <Override PartName="/ppt/theme/themeOverride682.xml" ContentType="application/vnd.openxmlformats-officedocument.themeOverride+xml"/>
  <Override PartName="/ppt/theme/themeOverride683.xml" ContentType="application/vnd.openxmlformats-officedocument.themeOverride+xml"/>
  <Override PartName="/ppt/theme/themeOverride684.xml" ContentType="application/vnd.openxmlformats-officedocument.themeOverride+xml"/>
  <Override PartName="/ppt/theme/themeOverride685.xml" ContentType="application/vnd.openxmlformats-officedocument.themeOverride+xml"/>
  <Override PartName="/ppt/theme/themeOverride686.xml" ContentType="application/vnd.openxmlformats-officedocument.themeOverride+xml"/>
  <Override PartName="/ppt/theme/themeOverride687.xml" ContentType="application/vnd.openxmlformats-officedocument.themeOverride+xml"/>
  <Override PartName="/ppt/theme/themeOverride688.xml" ContentType="application/vnd.openxmlformats-officedocument.themeOverride+xml"/>
  <Override PartName="/ppt/theme/themeOverride689.xml" ContentType="application/vnd.openxmlformats-officedocument.themeOverride+xml"/>
  <Override PartName="/ppt/theme/themeOverride69.xml" ContentType="application/vnd.openxmlformats-officedocument.themeOverride+xml"/>
  <Override PartName="/ppt/theme/themeOverride690.xml" ContentType="application/vnd.openxmlformats-officedocument.themeOverride+xml"/>
  <Override PartName="/ppt/theme/themeOverride691.xml" ContentType="application/vnd.openxmlformats-officedocument.themeOverride+xml"/>
  <Override PartName="/ppt/theme/themeOverride692.xml" ContentType="application/vnd.openxmlformats-officedocument.themeOverride+xml"/>
  <Override PartName="/ppt/theme/themeOverride693.xml" ContentType="application/vnd.openxmlformats-officedocument.themeOverride+xml"/>
  <Override PartName="/ppt/theme/themeOverride694.xml" ContentType="application/vnd.openxmlformats-officedocument.themeOverride+xml"/>
  <Override PartName="/ppt/theme/themeOverride695.xml" ContentType="application/vnd.openxmlformats-officedocument.themeOverride+xml"/>
  <Override PartName="/ppt/theme/themeOverride696.xml" ContentType="application/vnd.openxmlformats-officedocument.themeOverride+xml"/>
  <Override PartName="/ppt/theme/themeOverride697.xml" ContentType="application/vnd.openxmlformats-officedocument.themeOverride+xml"/>
  <Override PartName="/ppt/theme/themeOverride698.xml" ContentType="application/vnd.openxmlformats-officedocument.themeOverride+xml"/>
  <Override PartName="/ppt/theme/themeOverride69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00.xml" ContentType="application/vnd.openxmlformats-officedocument.themeOverride+xml"/>
  <Override PartName="/ppt/theme/themeOverride701.xml" ContentType="application/vnd.openxmlformats-officedocument.themeOverride+xml"/>
  <Override PartName="/ppt/theme/themeOverride702.xml" ContentType="application/vnd.openxmlformats-officedocument.themeOverride+xml"/>
  <Override PartName="/ppt/theme/themeOverride703.xml" ContentType="application/vnd.openxmlformats-officedocument.themeOverride+xml"/>
  <Override PartName="/ppt/theme/themeOverride704.xml" ContentType="application/vnd.openxmlformats-officedocument.themeOverride+xml"/>
  <Override PartName="/ppt/theme/themeOverride705.xml" ContentType="application/vnd.openxmlformats-officedocument.themeOverride+xml"/>
  <Override PartName="/ppt/theme/themeOverride706.xml" ContentType="application/vnd.openxmlformats-officedocument.themeOverride+xml"/>
  <Override PartName="/ppt/theme/themeOverride707.xml" ContentType="application/vnd.openxmlformats-officedocument.themeOverride+xml"/>
  <Override PartName="/ppt/theme/themeOverride708.xml" ContentType="application/vnd.openxmlformats-officedocument.themeOverride+xml"/>
  <Override PartName="/ppt/theme/themeOverride709.xml" ContentType="application/vnd.openxmlformats-officedocument.themeOverride+xml"/>
  <Override PartName="/ppt/theme/themeOverride71.xml" ContentType="application/vnd.openxmlformats-officedocument.themeOverride+xml"/>
  <Override PartName="/ppt/theme/themeOverride710.xml" ContentType="application/vnd.openxmlformats-officedocument.themeOverride+xml"/>
  <Override PartName="/ppt/theme/themeOverride711.xml" ContentType="application/vnd.openxmlformats-officedocument.themeOverride+xml"/>
  <Override PartName="/ppt/theme/themeOverride712.xml" ContentType="application/vnd.openxmlformats-officedocument.themeOverride+xml"/>
  <Override PartName="/ppt/theme/themeOverride713.xml" ContentType="application/vnd.openxmlformats-officedocument.themeOverride+xml"/>
  <Override PartName="/ppt/theme/themeOverride714.xml" ContentType="application/vnd.openxmlformats-officedocument.themeOverride+xml"/>
  <Override PartName="/ppt/theme/themeOverride715.xml" ContentType="application/vnd.openxmlformats-officedocument.themeOverride+xml"/>
  <Override PartName="/ppt/theme/themeOverride716.xml" ContentType="application/vnd.openxmlformats-officedocument.themeOverride+xml"/>
  <Override PartName="/ppt/theme/themeOverride717.xml" ContentType="application/vnd.openxmlformats-officedocument.themeOverride+xml"/>
  <Override PartName="/ppt/theme/themeOverride718.xml" ContentType="application/vnd.openxmlformats-officedocument.themeOverride+xml"/>
  <Override PartName="/ppt/theme/themeOverride719.xml" ContentType="application/vnd.openxmlformats-officedocument.themeOverride+xml"/>
  <Override PartName="/ppt/theme/themeOverride72.xml" ContentType="application/vnd.openxmlformats-officedocument.themeOverride+xml"/>
  <Override PartName="/ppt/theme/themeOverride720.xml" ContentType="application/vnd.openxmlformats-officedocument.themeOverride+xml"/>
  <Override PartName="/ppt/theme/themeOverride721.xml" ContentType="application/vnd.openxmlformats-officedocument.themeOverride+xml"/>
  <Override PartName="/ppt/theme/themeOverride722.xml" ContentType="application/vnd.openxmlformats-officedocument.themeOverride+xml"/>
  <Override PartName="/ppt/theme/themeOverride723.xml" ContentType="application/vnd.openxmlformats-officedocument.themeOverride+xml"/>
  <Override PartName="/ppt/theme/themeOverride724.xml" ContentType="application/vnd.openxmlformats-officedocument.themeOverride+xml"/>
  <Override PartName="/ppt/theme/themeOverride725.xml" ContentType="application/vnd.openxmlformats-officedocument.themeOverride+xml"/>
  <Override PartName="/ppt/theme/themeOverride726.xml" ContentType="application/vnd.openxmlformats-officedocument.themeOverride+xml"/>
  <Override PartName="/ppt/theme/themeOverride727.xml" ContentType="application/vnd.openxmlformats-officedocument.themeOverride+xml"/>
  <Override PartName="/ppt/theme/themeOverride728.xml" ContentType="application/vnd.openxmlformats-officedocument.themeOverride+xml"/>
  <Override PartName="/ppt/theme/themeOverride729.xml" ContentType="application/vnd.openxmlformats-officedocument.themeOverride+xml"/>
  <Override PartName="/ppt/theme/themeOverride73.xml" ContentType="application/vnd.openxmlformats-officedocument.themeOverride+xml"/>
  <Override PartName="/ppt/theme/themeOverride730.xml" ContentType="application/vnd.openxmlformats-officedocument.themeOverride+xml"/>
  <Override PartName="/ppt/theme/themeOverride731.xml" ContentType="application/vnd.openxmlformats-officedocument.themeOverride+xml"/>
  <Override PartName="/ppt/theme/themeOverride732.xml" ContentType="application/vnd.openxmlformats-officedocument.themeOverride+xml"/>
  <Override PartName="/ppt/theme/themeOverride733.xml" ContentType="application/vnd.openxmlformats-officedocument.themeOverride+xml"/>
  <Override PartName="/ppt/theme/themeOverride734.xml" ContentType="application/vnd.openxmlformats-officedocument.themeOverride+xml"/>
  <Override PartName="/ppt/theme/themeOverride735.xml" ContentType="application/vnd.openxmlformats-officedocument.themeOverride+xml"/>
  <Override PartName="/ppt/theme/themeOverride736.xml" ContentType="application/vnd.openxmlformats-officedocument.themeOverride+xml"/>
  <Override PartName="/ppt/theme/themeOverride737.xml" ContentType="application/vnd.openxmlformats-officedocument.themeOverride+xml"/>
  <Override PartName="/ppt/theme/themeOverride738.xml" ContentType="application/vnd.openxmlformats-officedocument.themeOverride+xml"/>
  <Override PartName="/ppt/theme/themeOverride739.xml" ContentType="application/vnd.openxmlformats-officedocument.themeOverride+xml"/>
  <Override PartName="/ppt/theme/themeOverride74.xml" ContentType="application/vnd.openxmlformats-officedocument.themeOverride+xml"/>
  <Override PartName="/ppt/theme/themeOverride740.xml" ContentType="application/vnd.openxmlformats-officedocument.themeOverride+xml"/>
  <Override PartName="/ppt/theme/themeOverride741.xml" ContentType="application/vnd.openxmlformats-officedocument.themeOverride+xml"/>
  <Override PartName="/ppt/theme/themeOverride742.xml" ContentType="application/vnd.openxmlformats-officedocument.themeOverride+xml"/>
  <Override PartName="/ppt/theme/themeOverride743.xml" ContentType="application/vnd.openxmlformats-officedocument.themeOverride+xml"/>
  <Override PartName="/ppt/theme/themeOverride744.xml" ContentType="application/vnd.openxmlformats-officedocument.themeOverride+xml"/>
  <Override PartName="/ppt/theme/themeOverride745.xml" ContentType="application/vnd.openxmlformats-officedocument.themeOverride+xml"/>
  <Override PartName="/ppt/theme/themeOverride746.xml" ContentType="application/vnd.openxmlformats-officedocument.themeOverride+xml"/>
  <Override PartName="/ppt/theme/themeOverride747.xml" ContentType="application/vnd.openxmlformats-officedocument.themeOverride+xml"/>
  <Override PartName="/ppt/theme/themeOverride748.xml" ContentType="application/vnd.openxmlformats-officedocument.themeOverride+xml"/>
  <Override PartName="/ppt/theme/themeOverride749.xml" ContentType="application/vnd.openxmlformats-officedocument.themeOverride+xml"/>
  <Override PartName="/ppt/theme/themeOverride75.xml" ContentType="application/vnd.openxmlformats-officedocument.themeOverride+xml"/>
  <Override PartName="/ppt/theme/themeOverride750.xml" ContentType="application/vnd.openxmlformats-officedocument.themeOverride+xml"/>
  <Override PartName="/ppt/theme/themeOverride751.xml" ContentType="application/vnd.openxmlformats-officedocument.themeOverride+xml"/>
  <Override PartName="/ppt/theme/themeOverride752.xml" ContentType="application/vnd.openxmlformats-officedocument.themeOverride+xml"/>
  <Override PartName="/ppt/theme/themeOverride753.xml" ContentType="application/vnd.openxmlformats-officedocument.themeOverride+xml"/>
  <Override PartName="/ppt/theme/themeOverride754.xml" ContentType="application/vnd.openxmlformats-officedocument.themeOverride+xml"/>
  <Override PartName="/ppt/theme/themeOverride755.xml" ContentType="application/vnd.openxmlformats-officedocument.themeOverride+xml"/>
  <Override PartName="/ppt/theme/themeOverride756.xml" ContentType="application/vnd.openxmlformats-officedocument.themeOverride+xml"/>
  <Override PartName="/ppt/theme/themeOverride757.xml" ContentType="application/vnd.openxmlformats-officedocument.themeOverride+xml"/>
  <Override PartName="/ppt/theme/themeOverride758.xml" ContentType="application/vnd.openxmlformats-officedocument.themeOverride+xml"/>
  <Override PartName="/ppt/theme/themeOverride759.xml" ContentType="application/vnd.openxmlformats-officedocument.themeOverride+xml"/>
  <Override PartName="/ppt/theme/themeOverride76.xml" ContentType="application/vnd.openxmlformats-officedocument.themeOverride+xml"/>
  <Override PartName="/ppt/theme/themeOverride760.xml" ContentType="application/vnd.openxmlformats-officedocument.themeOverride+xml"/>
  <Override PartName="/ppt/theme/themeOverride761.xml" ContentType="application/vnd.openxmlformats-officedocument.themeOverride+xml"/>
  <Override PartName="/ppt/theme/themeOverride762.xml" ContentType="application/vnd.openxmlformats-officedocument.themeOverride+xml"/>
  <Override PartName="/ppt/theme/themeOverride763.xml" ContentType="application/vnd.openxmlformats-officedocument.themeOverride+xml"/>
  <Override PartName="/ppt/theme/themeOverride764.xml" ContentType="application/vnd.openxmlformats-officedocument.themeOverride+xml"/>
  <Override PartName="/ppt/theme/themeOverride765.xml" ContentType="application/vnd.openxmlformats-officedocument.themeOverride+xml"/>
  <Override PartName="/ppt/theme/themeOverride766.xml" ContentType="application/vnd.openxmlformats-officedocument.themeOverride+xml"/>
  <Override PartName="/ppt/theme/themeOverride767.xml" ContentType="application/vnd.openxmlformats-officedocument.themeOverride+xml"/>
  <Override PartName="/ppt/theme/themeOverride768.xml" ContentType="application/vnd.openxmlformats-officedocument.themeOverride+xml"/>
  <Override PartName="/ppt/theme/themeOverride769.xml" ContentType="application/vnd.openxmlformats-officedocument.themeOverride+xml"/>
  <Override PartName="/ppt/theme/themeOverride77.xml" ContentType="application/vnd.openxmlformats-officedocument.themeOverride+xml"/>
  <Override PartName="/ppt/theme/themeOverride770.xml" ContentType="application/vnd.openxmlformats-officedocument.themeOverride+xml"/>
  <Override PartName="/ppt/theme/themeOverride771.xml" ContentType="application/vnd.openxmlformats-officedocument.themeOverride+xml"/>
  <Override PartName="/ppt/theme/themeOverride772.xml" ContentType="application/vnd.openxmlformats-officedocument.themeOverride+xml"/>
  <Override PartName="/ppt/theme/themeOverride773.xml" ContentType="application/vnd.openxmlformats-officedocument.themeOverride+xml"/>
  <Override PartName="/ppt/theme/themeOverride774.xml" ContentType="application/vnd.openxmlformats-officedocument.themeOverride+xml"/>
  <Override PartName="/ppt/theme/themeOverride775.xml" ContentType="application/vnd.openxmlformats-officedocument.themeOverride+xml"/>
  <Override PartName="/ppt/theme/themeOverride776.xml" ContentType="application/vnd.openxmlformats-officedocument.themeOverride+xml"/>
  <Override PartName="/ppt/theme/themeOverride777.xml" ContentType="application/vnd.openxmlformats-officedocument.themeOverride+xml"/>
  <Override PartName="/ppt/theme/themeOverride778.xml" ContentType="application/vnd.openxmlformats-officedocument.themeOverride+xml"/>
  <Override PartName="/ppt/theme/themeOverride779.xml" ContentType="application/vnd.openxmlformats-officedocument.themeOverride+xml"/>
  <Override PartName="/ppt/theme/themeOverride78.xml" ContentType="application/vnd.openxmlformats-officedocument.themeOverride+xml"/>
  <Override PartName="/ppt/theme/themeOverride780.xml" ContentType="application/vnd.openxmlformats-officedocument.themeOverride+xml"/>
  <Override PartName="/ppt/theme/themeOverride781.xml" ContentType="application/vnd.openxmlformats-officedocument.themeOverride+xml"/>
  <Override PartName="/ppt/theme/themeOverride782.xml" ContentType="application/vnd.openxmlformats-officedocument.themeOverride+xml"/>
  <Override PartName="/ppt/theme/themeOverride783.xml" ContentType="application/vnd.openxmlformats-officedocument.themeOverride+xml"/>
  <Override PartName="/ppt/theme/themeOverride784.xml" ContentType="application/vnd.openxmlformats-officedocument.themeOverride+xml"/>
  <Override PartName="/ppt/theme/themeOverride785.xml" ContentType="application/vnd.openxmlformats-officedocument.themeOverride+xml"/>
  <Override PartName="/ppt/theme/themeOverride786.xml" ContentType="application/vnd.openxmlformats-officedocument.themeOverride+xml"/>
  <Override PartName="/ppt/theme/themeOverride787.xml" ContentType="application/vnd.openxmlformats-officedocument.themeOverride+xml"/>
  <Override PartName="/ppt/theme/themeOverride788.xml" ContentType="application/vnd.openxmlformats-officedocument.themeOverride+xml"/>
  <Override PartName="/ppt/theme/themeOverride789.xml" ContentType="application/vnd.openxmlformats-officedocument.themeOverride+xml"/>
  <Override PartName="/ppt/theme/themeOverride79.xml" ContentType="application/vnd.openxmlformats-officedocument.themeOverride+xml"/>
  <Override PartName="/ppt/theme/themeOverride790.xml" ContentType="application/vnd.openxmlformats-officedocument.themeOverride+xml"/>
  <Override PartName="/ppt/theme/themeOverride791.xml" ContentType="application/vnd.openxmlformats-officedocument.themeOverride+xml"/>
  <Override PartName="/ppt/theme/themeOverride792.xml" ContentType="application/vnd.openxmlformats-officedocument.themeOverride+xml"/>
  <Override PartName="/ppt/theme/themeOverride793.xml" ContentType="application/vnd.openxmlformats-officedocument.themeOverride+xml"/>
  <Override PartName="/ppt/theme/themeOverride794.xml" ContentType="application/vnd.openxmlformats-officedocument.themeOverride+xml"/>
  <Override PartName="/ppt/theme/themeOverride795.xml" ContentType="application/vnd.openxmlformats-officedocument.themeOverride+xml"/>
  <Override PartName="/ppt/theme/themeOverride796.xml" ContentType="application/vnd.openxmlformats-officedocument.themeOverride+xml"/>
  <Override PartName="/ppt/theme/themeOverride797.xml" ContentType="application/vnd.openxmlformats-officedocument.themeOverride+xml"/>
  <Override PartName="/ppt/theme/themeOverride798.xml" ContentType="application/vnd.openxmlformats-officedocument.themeOverride+xml"/>
  <Override PartName="/ppt/theme/themeOverride799.xml" ContentType="application/vnd.openxmlformats-officedocument.themeOverride+xml"/>
  <Override PartName="/ppt/theme/themeOverride8.xml" ContentType="application/vnd.openxmlformats-officedocument.themeOverride+xml"/>
  <Override PartName="/ppt/theme/themeOverride80.xml" ContentType="application/vnd.openxmlformats-officedocument.themeOverride+xml"/>
  <Override PartName="/ppt/theme/themeOverride800.xml" ContentType="application/vnd.openxmlformats-officedocument.themeOverride+xml"/>
  <Override PartName="/ppt/theme/themeOverride801.xml" ContentType="application/vnd.openxmlformats-officedocument.themeOverride+xml"/>
  <Override PartName="/ppt/theme/themeOverride802.xml" ContentType="application/vnd.openxmlformats-officedocument.themeOverride+xml"/>
  <Override PartName="/ppt/theme/themeOverride803.xml" ContentType="application/vnd.openxmlformats-officedocument.themeOverride+xml"/>
  <Override PartName="/ppt/theme/themeOverride804.xml" ContentType="application/vnd.openxmlformats-officedocument.themeOverride+xml"/>
  <Override PartName="/ppt/theme/themeOverride805.xml" ContentType="application/vnd.openxmlformats-officedocument.themeOverride+xml"/>
  <Override PartName="/ppt/theme/themeOverride806.xml" ContentType="application/vnd.openxmlformats-officedocument.themeOverride+xml"/>
  <Override PartName="/ppt/theme/themeOverride807.xml" ContentType="application/vnd.openxmlformats-officedocument.themeOverride+xml"/>
  <Override PartName="/ppt/theme/themeOverride808.xml" ContentType="application/vnd.openxmlformats-officedocument.themeOverride+xml"/>
  <Override PartName="/ppt/theme/themeOverride809.xml" ContentType="application/vnd.openxmlformats-officedocument.themeOverride+xml"/>
  <Override PartName="/ppt/theme/themeOverride81.xml" ContentType="application/vnd.openxmlformats-officedocument.themeOverride+xml"/>
  <Override PartName="/ppt/theme/themeOverride810.xml" ContentType="application/vnd.openxmlformats-officedocument.themeOverride+xml"/>
  <Override PartName="/ppt/theme/themeOverride811.xml" ContentType="application/vnd.openxmlformats-officedocument.themeOverride+xml"/>
  <Override PartName="/ppt/theme/themeOverride812.xml" ContentType="application/vnd.openxmlformats-officedocument.themeOverride+xml"/>
  <Override PartName="/ppt/theme/themeOverride813.xml" ContentType="application/vnd.openxmlformats-officedocument.themeOverride+xml"/>
  <Override PartName="/ppt/theme/themeOverride814.xml" ContentType="application/vnd.openxmlformats-officedocument.themeOverride+xml"/>
  <Override PartName="/ppt/theme/themeOverride815.xml" ContentType="application/vnd.openxmlformats-officedocument.themeOverride+xml"/>
  <Override PartName="/ppt/theme/themeOverride816.xml" ContentType="application/vnd.openxmlformats-officedocument.themeOverride+xml"/>
  <Override PartName="/ppt/theme/themeOverride817.xml" ContentType="application/vnd.openxmlformats-officedocument.themeOverride+xml"/>
  <Override PartName="/ppt/theme/themeOverride818.xml" ContentType="application/vnd.openxmlformats-officedocument.themeOverride+xml"/>
  <Override PartName="/ppt/theme/themeOverride819.xml" ContentType="application/vnd.openxmlformats-officedocument.themeOverride+xml"/>
  <Override PartName="/ppt/theme/themeOverride82.xml" ContentType="application/vnd.openxmlformats-officedocument.themeOverride+xml"/>
  <Override PartName="/ppt/theme/themeOverride820.xml" ContentType="application/vnd.openxmlformats-officedocument.themeOverride+xml"/>
  <Override PartName="/ppt/theme/themeOverride821.xml" ContentType="application/vnd.openxmlformats-officedocument.themeOverride+xml"/>
  <Override PartName="/ppt/theme/themeOverride822.xml" ContentType="application/vnd.openxmlformats-officedocument.themeOverride+xml"/>
  <Override PartName="/ppt/theme/themeOverride823.xml" ContentType="application/vnd.openxmlformats-officedocument.themeOverride+xml"/>
  <Override PartName="/ppt/theme/themeOverride824.xml" ContentType="application/vnd.openxmlformats-officedocument.themeOverride+xml"/>
  <Override PartName="/ppt/theme/themeOverride825.xml" ContentType="application/vnd.openxmlformats-officedocument.themeOverride+xml"/>
  <Override PartName="/ppt/theme/themeOverride826.xml" ContentType="application/vnd.openxmlformats-officedocument.themeOverride+xml"/>
  <Override PartName="/ppt/theme/themeOverride827.xml" ContentType="application/vnd.openxmlformats-officedocument.themeOverride+xml"/>
  <Override PartName="/ppt/theme/themeOverride828.xml" ContentType="application/vnd.openxmlformats-officedocument.themeOverride+xml"/>
  <Override PartName="/ppt/theme/themeOverride829.xml" ContentType="application/vnd.openxmlformats-officedocument.themeOverride+xml"/>
  <Override PartName="/ppt/theme/themeOverride83.xml" ContentType="application/vnd.openxmlformats-officedocument.themeOverride+xml"/>
  <Override PartName="/ppt/theme/themeOverride830.xml" ContentType="application/vnd.openxmlformats-officedocument.themeOverride+xml"/>
  <Override PartName="/ppt/theme/themeOverride831.xml" ContentType="application/vnd.openxmlformats-officedocument.themeOverride+xml"/>
  <Override PartName="/ppt/theme/themeOverride832.xml" ContentType="application/vnd.openxmlformats-officedocument.themeOverride+xml"/>
  <Override PartName="/ppt/theme/themeOverride833.xml" ContentType="application/vnd.openxmlformats-officedocument.themeOverride+xml"/>
  <Override PartName="/ppt/theme/themeOverride834.xml" ContentType="application/vnd.openxmlformats-officedocument.themeOverride+xml"/>
  <Override PartName="/ppt/theme/themeOverride835.xml" ContentType="application/vnd.openxmlformats-officedocument.themeOverride+xml"/>
  <Override PartName="/ppt/theme/themeOverride836.xml" ContentType="application/vnd.openxmlformats-officedocument.themeOverride+xml"/>
  <Override PartName="/ppt/theme/themeOverride837.xml" ContentType="application/vnd.openxmlformats-officedocument.themeOverride+xml"/>
  <Override PartName="/ppt/theme/themeOverride838.xml" ContentType="application/vnd.openxmlformats-officedocument.themeOverride+xml"/>
  <Override PartName="/ppt/theme/themeOverride839.xml" ContentType="application/vnd.openxmlformats-officedocument.themeOverride+xml"/>
  <Override PartName="/ppt/theme/themeOverride84.xml" ContentType="application/vnd.openxmlformats-officedocument.themeOverride+xml"/>
  <Override PartName="/ppt/theme/themeOverride840.xml" ContentType="application/vnd.openxmlformats-officedocument.themeOverride+xml"/>
  <Override PartName="/ppt/theme/themeOverride841.xml" ContentType="application/vnd.openxmlformats-officedocument.themeOverride+xml"/>
  <Override PartName="/ppt/theme/themeOverride842.xml" ContentType="application/vnd.openxmlformats-officedocument.themeOverride+xml"/>
  <Override PartName="/ppt/theme/themeOverride843.xml" ContentType="application/vnd.openxmlformats-officedocument.themeOverride+xml"/>
  <Override PartName="/ppt/theme/themeOverride844.xml" ContentType="application/vnd.openxmlformats-officedocument.themeOverride+xml"/>
  <Override PartName="/ppt/theme/themeOverride845.xml" ContentType="application/vnd.openxmlformats-officedocument.themeOverride+xml"/>
  <Override PartName="/ppt/theme/themeOverride846.xml" ContentType="application/vnd.openxmlformats-officedocument.themeOverride+xml"/>
  <Override PartName="/ppt/theme/themeOverride847.xml" ContentType="application/vnd.openxmlformats-officedocument.themeOverride+xml"/>
  <Override PartName="/ppt/theme/themeOverride848.xml" ContentType="application/vnd.openxmlformats-officedocument.themeOverride+xml"/>
  <Override PartName="/ppt/theme/themeOverride849.xml" ContentType="application/vnd.openxmlformats-officedocument.themeOverride+xml"/>
  <Override PartName="/ppt/theme/themeOverride85.xml" ContentType="application/vnd.openxmlformats-officedocument.themeOverride+xml"/>
  <Override PartName="/ppt/theme/themeOverride850.xml" ContentType="application/vnd.openxmlformats-officedocument.themeOverride+xml"/>
  <Override PartName="/ppt/theme/themeOverride851.xml" ContentType="application/vnd.openxmlformats-officedocument.themeOverride+xml"/>
  <Override PartName="/ppt/theme/themeOverride852.xml" ContentType="application/vnd.openxmlformats-officedocument.themeOverride+xml"/>
  <Override PartName="/ppt/theme/themeOverride853.xml" ContentType="application/vnd.openxmlformats-officedocument.themeOverride+xml"/>
  <Override PartName="/ppt/theme/themeOverride854.xml" ContentType="application/vnd.openxmlformats-officedocument.themeOverride+xml"/>
  <Override PartName="/ppt/theme/themeOverride855.xml" ContentType="application/vnd.openxmlformats-officedocument.themeOverride+xml"/>
  <Override PartName="/ppt/theme/themeOverride856.xml" ContentType="application/vnd.openxmlformats-officedocument.themeOverride+xml"/>
  <Override PartName="/ppt/theme/themeOverride857.xml" ContentType="application/vnd.openxmlformats-officedocument.themeOverride+xml"/>
  <Override PartName="/ppt/theme/themeOverride858.xml" ContentType="application/vnd.openxmlformats-officedocument.themeOverride+xml"/>
  <Override PartName="/ppt/theme/themeOverride859.xml" ContentType="application/vnd.openxmlformats-officedocument.themeOverride+xml"/>
  <Override PartName="/ppt/theme/themeOverride86.xml" ContentType="application/vnd.openxmlformats-officedocument.themeOverride+xml"/>
  <Override PartName="/ppt/theme/themeOverride860.xml" ContentType="application/vnd.openxmlformats-officedocument.themeOverride+xml"/>
  <Override PartName="/ppt/theme/themeOverride861.xml" ContentType="application/vnd.openxmlformats-officedocument.themeOverride+xml"/>
  <Override PartName="/ppt/theme/themeOverride862.xml" ContentType="application/vnd.openxmlformats-officedocument.themeOverride+xml"/>
  <Override PartName="/ppt/theme/themeOverride863.xml" ContentType="application/vnd.openxmlformats-officedocument.themeOverride+xml"/>
  <Override PartName="/ppt/theme/themeOverride864.xml" ContentType="application/vnd.openxmlformats-officedocument.themeOverride+xml"/>
  <Override PartName="/ppt/theme/themeOverride865.xml" ContentType="application/vnd.openxmlformats-officedocument.themeOverride+xml"/>
  <Override PartName="/ppt/theme/themeOverride866.xml" ContentType="application/vnd.openxmlformats-officedocument.themeOverride+xml"/>
  <Override PartName="/ppt/theme/themeOverride867.xml" ContentType="application/vnd.openxmlformats-officedocument.themeOverride+xml"/>
  <Override PartName="/ppt/theme/themeOverride868.xml" ContentType="application/vnd.openxmlformats-officedocument.themeOverride+xml"/>
  <Override PartName="/ppt/theme/themeOverride869.xml" ContentType="application/vnd.openxmlformats-officedocument.themeOverride+xml"/>
  <Override PartName="/ppt/theme/themeOverride87.xml" ContentType="application/vnd.openxmlformats-officedocument.themeOverride+xml"/>
  <Override PartName="/ppt/theme/themeOverride870.xml" ContentType="application/vnd.openxmlformats-officedocument.themeOverride+xml"/>
  <Override PartName="/ppt/theme/themeOverride871.xml" ContentType="application/vnd.openxmlformats-officedocument.themeOverride+xml"/>
  <Override PartName="/ppt/theme/themeOverride872.xml" ContentType="application/vnd.openxmlformats-officedocument.themeOverride+xml"/>
  <Override PartName="/ppt/theme/themeOverride873.xml" ContentType="application/vnd.openxmlformats-officedocument.themeOverride+xml"/>
  <Override PartName="/ppt/theme/themeOverride874.xml" ContentType="application/vnd.openxmlformats-officedocument.themeOverride+xml"/>
  <Override PartName="/ppt/theme/themeOverride875.xml" ContentType="application/vnd.openxmlformats-officedocument.themeOverride+xml"/>
  <Override PartName="/ppt/theme/themeOverride876.xml" ContentType="application/vnd.openxmlformats-officedocument.themeOverride+xml"/>
  <Override PartName="/ppt/theme/themeOverride877.xml" ContentType="application/vnd.openxmlformats-officedocument.themeOverride+xml"/>
  <Override PartName="/ppt/theme/themeOverride878.xml" ContentType="application/vnd.openxmlformats-officedocument.themeOverride+xml"/>
  <Override PartName="/ppt/theme/themeOverride879.xml" ContentType="application/vnd.openxmlformats-officedocument.themeOverride+xml"/>
  <Override PartName="/ppt/theme/themeOverride88.xml" ContentType="application/vnd.openxmlformats-officedocument.themeOverride+xml"/>
  <Override PartName="/ppt/theme/themeOverride880.xml" ContentType="application/vnd.openxmlformats-officedocument.themeOverride+xml"/>
  <Override PartName="/ppt/theme/themeOverride881.xml" ContentType="application/vnd.openxmlformats-officedocument.themeOverride+xml"/>
  <Override PartName="/ppt/theme/themeOverride882.xml" ContentType="application/vnd.openxmlformats-officedocument.themeOverride+xml"/>
  <Override PartName="/ppt/theme/themeOverride883.xml" ContentType="application/vnd.openxmlformats-officedocument.themeOverride+xml"/>
  <Override PartName="/ppt/theme/themeOverride884.xml" ContentType="application/vnd.openxmlformats-officedocument.themeOverride+xml"/>
  <Override PartName="/ppt/theme/themeOverride885.xml" ContentType="application/vnd.openxmlformats-officedocument.themeOverride+xml"/>
  <Override PartName="/ppt/theme/themeOverride886.xml" ContentType="application/vnd.openxmlformats-officedocument.themeOverride+xml"/>
  <Override PartName="/ppt/theme/themeOverride887.xml" ContentType="application/vnd.openxmlformats-officedocument.themeOverride+xml"/>
  <Override PartName="/ppt/theme/themeOverride888.xml" ContentType="application/vnd.openxmlformats-officedocument.themeOverride+xml"/>
  <Override PartName="/ppt/theme/themeOverride889.xml" ContentType="application/vnd.openxmlformats-officedocument.themeOverride+xml"/>
  <Override PartName="/ppt/theme/themeOverride89.xml" ContentType="application/vnd.openxmlformats-officedocument.themeOverride+xml"/>
  <Override PartName="/ppt/theme/themeOverride890.xml" ContentType="application/vnd.openxmlformats-officedocument.themeOverride+xml"/>
  <Override PartName="/ppt/theme/themeOverride891.xml" ContentType="application/vnd.openxmlformats-officedocument.themeOverride+xml"/>
  <Override PartName="/ppt/theme/themeOverride892.xml" ContentType="application/vnd.openxmlformats-officedocument.themeOverride+xml"/>
  <Override PartName="/ppt/theme/themeOverride893.xml" ContentType="application/vnd.openxmlformats-officedocument.themeOverride+xml"/>
  <Override PartName="/ppt/theme/themeOverride894.xml" ContentType="application/vnd.openxmlformats-officedocument.themeOverride+xml"/>
  <Override PartName="/ppt/theme/themeOverride895.xml" ContentType="application/vnd.openxmlformats-officedocument.themeOverride+xml"/>
  <Override PartName="/ppt/theme/themeOverride896.xml" ContentType="application/vnd.openxmlformats-officedocument.themeOverride+xml"/>
  <Override PartName="/ppt/theme/themeOverride897.xml" ContentType="application/vnd.openxmlformats-officedocument.themeOverride+xml"/>
  <Override PartName="/ppt/theme/themeOverride898.xml" ContentType="application/vnd.openxmlformats-officedocument.themeOverride+xml"/>
  <Override PartName="/ppt/theme/themeOverride899.xml" ContentType="application/vnd.openxmlformats-officedocument.themeOverride+xml"/>
  <Override PartName="/ppt/theme/themeOverride9.xml" ContentType="application/vnd.openxmlformats-officedocument.themeOverride+xml"/>
  <Override PartName="/ppt/theme/themeOverride90.xml" ContentType="application/vnd.openxmlformats-officedocument.themeOverride+xml"/>
  <Override PartName="/ppt/theme/themeOverride900.xml" ContentType="application/vnd.openxmlformats-officedocument.themeOverride+xml"/>
  <Override PartName="/ppt/theme/themeOverride901.xml" ContentType="application/vnd.openxmlformats-officedocument.themeOverride+xml"/>
  <Override PartName="/ppt/theme/themeOverride902.xml" ContentType="application/vnd.openxmlformats-officedocument.themeOverride+xml"/>
  <Override PartName="/ppt/theme/themeOverride903.xml" ContentType="application/vnd.openxmlformats-officedocument.themeOverride+xml"/>
  <Override PartName="/ppt/theme/themeOverride904.xml" ContentType="application/vnd.openxmlformats-officedocument.themeOverride+xml"/>
  <Override PartName="/ppt/theme/themeOverride905.xml" ContentType="application/vnd.openxmlformats-officedocument.themeOverride+xml"/>
  <Override PartName="/ppt/theme/themeOverride906.xml" ContentType="application/vnd.openxmlformats-officedocument.themeOverride+xml"/>
  <Override PartName="/ppt/theme/themeOverride907.xml" ContentType="application/vnd.openxmlformats-officedocument.themeOverride+xml"/>
  <Override PartName="/ppt/theme/themeOverride908.xml" ContentType="application/vnd.openxmlformats-officedocument.themeOverride+xml"/>
  <Override PartName="/ppt/theme/themeOverride909.xml" ContentType="application/vnd.openxmlformats-officedocument.themeOverride+xml"/>
  <Override PartName="/ppt/theme/themeOverride91.xml" ContentType="application/vnd.openxmlformats-officedocument.themeOverride+xml"/>
  <Override PartName="/ppt/theme/themeOverride910.xml" ContentType="application/vnd.openxmlformats-officedocument.themeOverride+xml"/>
  <Override PartName="/ppt/theme/themeOverride911.xml" ContentType="application/vnd.openxmlformats-officedocument.themeOverride+xml"/>
  <Override PartName="/ppt/theme/themeOverride912.xml" ContentType="application/vnd.openxmlformats-officedocument.themeOverride+xml"/>
  <Override PartName="/ppt/theme/themeOverride913.xml" ContentType="application/vnd.openxmlformats-officedocument.themeOverride+xml"/>
  <Override PartName="/ppt/theme/themeOverride914.xml" ContentType="application/vnd.openxmlformats-officedocument.themeOverride+xml"/>
  <Override PartName="/ppt/theme/themeOverride915.xml" ContentType="application/vnd.openxmlformats-officedocument.themeOverride+xml"/>
  <Override PartName="/ppt/theme/themeOverride916.xml" ContentType="application/vnd.openxmlformats-officedocument.themeOverride+xml"/>
  <Override PartName="/ppt/theme/themeOverride917.xml" ContentType="application/vnd.openxmlformats-officedocument.themeOverride+xml"/>
  <Override PartName="/ppt/theme/themeOverride918.xml" ContentType="application/vnd.openxmlformats-officedocument.themeOverride+xml"/>
  <Override PartName="/ppt/theme/themeOverride919.xml" ContentType="application/vnd.openxmlformats-officedocument.themeOverride+xml"/>
  <Override PartName="/ppt/theme/themeOverride92.xml" ContentType="application/vnd.openxmlformats-officedocument.themeOverride+xml"/>
  <Override PartName="/ppt/theme/themeOverride920.xml" ContentType="application/vnd.openxmlformats-officedocument.themeOverride+xml"/>
  <Override PartName="/ppt/theme/themeOverride921.xml" ContentType="application/vnd.openxmlformats-officedocument.themeOverride+xml"/>
  <Override PartName="/ppt/theme/themeOverride922.xml" ContentType="application/vnd.openxmlformats-officedocument.themeOverride+xml"/>
  <Override PartName="/ppt/theme/themeOverride923.xml" ContentType="application/vnd.openxmlformats-officedocument.themeOverride+xml"/>
  <Override PartName="/ppt/theme/themeOverride924.xml" ContentType="application/vnd.openxmlformats-officedocument.themeOverride+xml"/>
  <Override PartName="/ppt/theme/themeOverride925.xml" ContentType="application/vnd.openxmlformats-officedocument.themeOverride+xml"/>
  <Override PartName="/ppt/theme/themeOverride926.xml" ContentType="application/vnd.openxmlformats-officedocument.themeOverride+xml"/>
  <Override PartName="/ppt/theme/themeOverride927.xml" ContentType="application/vnd.openxmlformats-officedocument.themeOverride+xml"/>
  <Override PartName="/ppt/theme/themeOverride928.xml" ContentType="application/vnd.openxmlformats-officedocument.themeOverride+xml"/>
  <Override PartName="/ppt/theme/themeOverride929.xml" ContentType="application/vnd.openxmlformats-officedocument.themeOverride+xml"/>
  <Override PartName="/ppt/theme/themeOverride93.xml" ContentType="application/vnd.openxmlformats-officedocument.themeOverride+xml"/>
  <Override PartName="/ppt/theme/themeOverride930.xml" ContentType="application/vnd.openxmlformats-officedocument.themeOverride+xml"/>
  <Override PartName="/ppt/theme/themeOverride931.xml" ContentType="application/vnd.openxmlformats-officedocument.themeOverride+xml"/>
  <Override PartName="/ppt/theme/themeOverride932.xml" ContentType="application/vnd.openxmlformats-officedocument.themeOverride+xml"/>
  <Override PartName="/ppt/theme/themeOverride933.xml" ContentType="application/vnd.openxmlformats-officedocument.themeOverride+xml"/>
  <Override PartName="/ppt/theme/themeOverride934.xml" ContentType="application/vnd.openxmlformats-officedocument.themeOverride+xml"/>
  <Override PartName="/ppt/theme/themeOverride935.xml" ContentType="application/vnd.openxmlformats-officedocument.themeOverride+xml"/>
  <Override PartName="/ppt/theme/themeOverride936.xml" ContentType="application/vnd.openxmlformats-officedocument.themeOverride+xml"/>
  <Override PartName="/ppt/theme/themeOverride937.xml" ContentType="application/vnd.openxmlformats-officedocument.themeOverride+xml"/>
  <Override PartName="/ppt/theme/themeOverride938.xml" ContentType="application/vnd.openxmlformats-officedocument.themeOverride+xml"/>
  <Override PartName="/ppt/theme/themeOverride939.xml" ContentType="application/vnd.openxmlformats-officedocument.themeOverride+xml"/>
  <Override PartName="/ppt/theme/themeOverride94.xml" ContentType="application/vnd.openxmlformats-officedocument.themeOverride+xml"/>
  <Override PartName="/ppt/theme/themeOverride940.xml" ContentType="application/vnd.openxmlformats-officedocument.themeOverride+xml"/>
  <Override PartName="/ppt/theme/themeOverride941.xml" ContentType="application/vnd.openxmlformats-officedocument.themeOverride+xml"/>
  <Override PartName="/ppt/theme/themeOverride942.xml" ContentType="application/vnd.openxmlformats-officedocument.themeOverride+xml"/>
  <Override PartName="/ppt/theme/themeOverride943.xml" ContentType="application/vnd.openxmlformats-officedocument.themeOverride+xml"/>
  <Override PartName="/ppt/theme/themeOverride944.xml" ContentType="application/vnd.openxmlformats-officedocument.themeOverride+xml"/>
  <Override PartName="/ppt/theme/themeOverride945.xml" ContentType="application/vnd.openxmlformats-officedocument.themeOverride+xml"/>
  <Override PartName="/ppt/theme/themeOverride946.xml" ContentType="application/vnd.openxmlformats-officedocument.themeOverride+xml"/>
  <Override PartName="/ppt/theme/themeOverride947.xml" ContentType="application/vnd.openxmlformats-officedocument.themeOverride+xml"/>
  <Override PartName="/ppt/theme/themeOverride948.xml" ContentType="application/vnd.openxmlformats-officedocument.themeOverride+xml"/>
  <Override PartName="/ppt/theme/themeOverride949.xml" ContentType="application/vnd.openxmlformats-officedocument.themeOverride+xml"/>
  <Override PartName="/ppt/theme/themeOverride95.xml" ContentType="application/vnd.openxmlformats-officedocument.themeOverride+xml"/>
  <Override PartName="/ppt/theme/themeOverride950.xml" ContentType="application/vnd.openxmlformats-officedocument.themeOverride+xml"/>
  <Override PartName="/ppt/theme/themeOverride951.xml" ContentType="application/vnd.openxmlformats-officedocument.themeOverride+xml"/>
  <Override PartName="/ppt/theme/themeOverride952.xml" ContentType="application/vnd.openxmlformats-officedocument.themeOverride+xml"/>
  <Override PartName="/ppt/theme/themeOverride953.xml" ContentType="application/vnd.openxmlformats-officedocument.themeOverride+xml"/>
  <Override PartName="/ppt/theme/themeOverride954.xml" ContentType="application/vnd.openxmlformats-officedocument.themeOverride+xml"/>
  <Override PartName="/ppt/theme/themeOverride955.xml" ContentType="application/vnd.openxmlformats-officedocument.themeOverride+xml"/>
  <Override PartName="/ppt/theme/themeOverride956.xml" ContentType="application/vnd.openxmlformats-officedocument.themeOverride+xml"/>
  <Override PartName="/ppt/theme/themeOverride957.xml" ContentType="application/vnd.openxmlformats-officedocument.themeOverride+xml"/>
  <Override PartName="/ppt/theme/themeOverride958.xml" ContentType="application/vnd.openxmlformats-officedocument.themeOverride+xml"/>
  <Override PartName="/ppt/theme/themeOverride959.xml" ContentType="application/vnd.openxmlformats-officedocument.themeOverride+xml"/>
  <Override PartName="/ppt/theme/themeOverride96.xml" ContentType="application/vnd.openxmlformats-officedocument.themeOverride+xml"/>
  <Override PartName="/ppt/theme/themeOverride960.xml" ContentType="application/vnd.openxmlformats-officedocument.themeOverride+xml"/>
  <Override PartName="/ppt/theme/themeOverride961.xml" ContentType="application/vnd.openxmlformats-officedocument.themeOverride+xml"/>
  <Override PartName="/ppt/theme/themeOverride962.xml" ContentType="application/vnd.openxmlformats-officedocument.themeOverride+xml"/>
  <Override PartName="/ppt/theme/themeOverride963.xml" ContentType="application/vnd.openxmlformats-officedocument.themeOverride+xml"/>
  <Override PartName="/ppt/theme/themeOverride964.xml" ContentType="application/vnd.openxmlformats-officedocument.themeOverride+xml"/>
  <Override PartName="/ppt/theme/themeOverride965.xml" ContentType="application/vnd.openxmlformats-officedocument.themeOverride+xml"/>
  <Override PartName="/ppt/theme/themeOverride966.xml" ContentType="application/vnd.openxmlformats-officedocument.themeOverride+xml"/>
  <Override PartName="/ppt/theme/themeOverride967.xml" ContentType="application/vnd.openxmlformats-officedocument.themeOverride+xml"/>
  <Override PartName="/ppt/theme/themeOverride968.xml" ContentType="application/vnd.openxmlformats-officedocument.themeOverride+xml"/>
  <Override PartName="/ppt/theme/themeOverride969.xml" ContentType="application/vnd.openxmlformats-officedocument.themeOverride+xml"/>
  <Override PartName="/ppt/theme/themeOverride97.xml" ContentType="application/vnd.openxmlformats-officedocument.themeOverride+xml"/>
  <Override PartName="/ppt/theme/themeOverride970.xml" ContentType="application/vnd.openxmlformats-officedocument.themeOverride+xml"/>
  <Override PartName="/ppt/theme/themeOverride971.xml" ContentType="application/vnd.openxmlformats-officedocument.themeOverride+xml"/>
  <Override PartName="/ppt/theme/themeOverride972.xml" ContentType="application/vnd.openxmlformats-officedocument.themeOverride+xml"/>
  <Override PartName="/ppt/theme/themeOverride973.xml" ContentType="application/vnd.openxmlformats-officedocument.themeOverride+xml"/>
  <Override PartName="/ppt/theme/themeOverride974.xml" ContentType="application/vnd.openxmlformats-officedocument.themeOverride+xml"/>
  <Override PartName="/ppt/theme/themeOverride975.xml" ContentType="application/vnd.openxmlformats-officedocument.themeOverride+xml"/>
  <Override PartName="/ppt/theme/themeOverride976.xml" ContentType="application/vnd.openxmlformats-officedocument.themeOverride+xml"/>
  <Override PartName="/ppt/theme/themeOverride977.xml" ContentType="application/vnd.openxmlformats-officedocument.themeOverride+xml"/>
  <Override PartName="/ppt/theme/themeOverride978.xml" ContentType="application/vnd.openxmlformats-officedocument.themeOverride+xml"/>
  <Override PartName="/ppt/theme/themeOverride979.xml" ContentType="application/vnd.openxmlformats-officedocument.themeOverride+xml"/>
  <Override PartName="/ppt/theme/themeOverride98.xml" ContentType="application/vnd.openxmlformats-officedocument.themeOverride+xml"/>
  <Override PartName="/ppt/theme/themeOverride980.xml" ContentType="application/vnd.openxmlformats-officedocument.themeOverride+xml"/>
  <Override PartName="/ppt/theme/themeOverride981.xml" ContentType="application/vnd.openxmlformats-officedocument.themeOverride+xml"/>
  <Override PartName="/ppt/theme/themeOverride982.xml" ContentType="application/vnd.openxmlformats-officedocument.themeOverride+xml"/>
  <Override PartName="/ppt/theme/themeOverride983.xml" ContentType="application/vnd.openxmlformats-officedocument.themeOverride+xml"/>
  <Override PartName="/ppt/theme/themeOverride984.xml" ContentType="application/vnd.openxmlformats-officedocument.themeOverride+xml"/>
  <Override PartName="/ppt/theme/themeOverride985.xml" ContentType="application/vnd.openxmlformats-officedocument.themeOverride+xml"/>
  <Override PartName="/ppt/theme/themeOverride986.xml" ContentType="application/vnd.openxmlformats-officedocument.themeOverride+xml"/>
  <Override PartName="/ppt/theme/themeOverride987.xml" ContentType="application/vnd.openxmlformats-officedocument.themeOverride+xml"/>
  <Override PartName="/ppt/theme/themeOverride988.xml" ContentType="application/vnd.openxmlformats-officedocument.themeOverride+xml"/>
  <Override PartName="/ppt/theme/themeOverride989.xml" ContentType="application/vnd.openxmlformats-officedocument.themeOverride+xml"/>
  <Override PartName="/ppt/theme/themeOverride99.xml" ContentType="application/vnd.openxmlformats-officedocument.themeOverride+xml"/>
  <Override PartName="/ppt/theme/themeOverride990.xml" ContentType="application/vnd.openxmlformats-officedocument.themeOverride+xml"/>
  <Override PartName="/ppt/theme/themeOverride991.xml" ContentType="application/vnd.openxmlformats-officedocument.themeOverride+xml"/>
  <Override PartName="/ppt/theme/themeOverride992.xml" ContentType="application/vnd.openxmlformats-officedocument.themeOverride+xml"/>
  <Override PartName="/ppt/theme/themeOverride993.xml" ContentType="application/vnd.openxmlformats-officedocument.themeOverride+xml"/>
  <Override PartName="/ppt/theme/themeOverride994.xml" ContentType="application/vnd.openxmlformats-officedocument.themeOverride+xml"/>
  <Override PartName="/ppt/theme/themeOverride995.xml" ContentType="application/vnd.openxmlformats-officedocument.themeOverride+xml"/>
  <Override PartName="/ppt/theme/themeOverride996.xml" ContentType="application/vnd.openxmlformats-officedocument.themeOverride+xml"/>
  <Override PartName="/ppt/theme/themeOverride997.xml" ContentType="application/vnd.openxmlformats-officedocument.themeOverride+xml"/>
  <Override PartName="/ppt/theme/themeOverride998.xml" ContentType="application/vnd.openxmlformats-officedocument.themeOverride+xml"/>
  <Override PartName="/ppt/theme/themeOverride99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834"/>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 id="2147475731" r:id="rId570"/>
    <p:sldId id="2147475732" r:id="rId571"/>
    <p:sldId id="2147475733" r:id="rId572"/>
    <p:sldId id="2147475734" r:id="rId573"/>
    <p:sldId id="2147475735" r:id="rId574"/>
    <p:sldId id="2147475736" r:id="rId575"/>
    <p:sldId id="2147475737" r:id="rId576"/>
    <p:sldId id="2147475738" r:id="rId577"/>
    <p:sldId id="2147475739" r:id="rId578"/>
    <p:sldId id="2147475740" r:id="rId579"/>
    <p:sldId id="2147475741" r:id="rId580"/>
    <p:sldId id="2147475742" r:id="rId581"/>
    <p:sldId id="2147475743" r:id="rId582"/>
    <p:sldId id="2147475744" r:id="rId583"/>
    <p:sldId id="2147475745" r:id="rId584"/>
    <p:sldId id="2147475746" r:id="rId585"/>
    <p:sldId id="2147475747" r:id="rId586"/>
    <p:sldId id="2147475748" r:id="rId587"/>
    <p:sldId id="2147475749" r:id="rId588"/>
    <p:sldId id="2147475750" r:id="rId589"/>
    <p:sldId id="2147475751" r:id="rId590"/>
    <p:sldId id="2147475752" r:id="rId591"/>
    <p:sldId id="2147475753" r:id="rId592"/>
    <p:sldId id="2147475754" r:id="rId593"/>
    <p:sldId id="2147475755" r:id="rId594"/>
    <p:sldId id="2147475756" r:id="rId595"/>
    <p:sldId id="2147475757" r:id="rId596"/>
    <p:sldId id="2147475758" r:id="rId597"/>
    <p:sldId id="2147475759" r:id="rId598"/>
    <p:sldId id="2147475760" r:id="rId599"/>
    <p:sldId id="2147475761" r:id="rId600"/>
    <p:sldId id="2147475762" r:id="rId601"/>
    <p:sldId id="2147475763" r:id="rId602"/>
    <p:sldId id="2147475764" r:id="rId603"/>
    <p:sldId id="2147475765" r:id="rId604"/>
    <p:sldId id="2147475766" r:id="rId605"/>
    <p:sldId id="2147475767" r:id="rId606"/>
    <p:sldId id="2147475768" r:id="rId607"/>
    <p:sldId id="2147475769" r:id="rId608"/>
    <p:sldId id="2147475770" r:id="rId609"/>
    <p:sldId id="2147475771" r:id="rId610"/>
    <p:sldId id="2147475772" r:id="rId611"/>
    <p:sldId id="2147475773" r:id="rId612"/>
    <p:sldId id="2147475774" r:id="rId613"/>
    <p:sldId id="2147475775" r:id="rId614"/>
    <p:sldId id="2147475776" r:id="rId615"/>
    <p:sldId id="2147475777" r:id="rId616"/>
    <p:sldId id="2147475778" r:id="rId617"/>
    <p:sldId id="2147475779" r:id="rId618"/>
    <p:sldId id="2147475780" r:id="rId619"/>
    <p:sldId id="2147475781" r:id="rId620"/>
    <p:sldId id="2147475782" r:id="rId621"/>
    <p:sldId id="2147475783" r:id="rId622"/>
    <p:sldId id="2147475784" r:id="rId623"/>
    <p:sldId id="2147475785" r:id="rId624"/>
    <p:sldId id="2147475786" r:id="rId625"/>
    <p:sldId id="2147475787" r:id="rId626"/>
    <p:sldId id="2147475788" r:id="rId627"/>
    <p:sldId id="2147475789" r:id="rId628"/>
    <p:sldId id="2147475790" r:id="rId629"/>
    <p:sldId id="2147475791" r:id="rId630"/>
    <p:sldId id="2147475792" r:id="rId631"/>
    <p:sldId id="2147475793" r:id="rId632"/>
    <p:sldId id="2147475794" r:id="rId633"/>
    <p:sldId id="2147475795" r:id="rId634"/>
    <p:sldId id="2147475796" r:id="rId635"/>
    <p:sldId id="2147475797" r:id="rId636"/>
    <p:sldId id="2147475798" r:id="rId637"/>
    <p:sldId id="2147475799" r:id="rId638"/>
    <p:sldId id="2147475800" r:id="rId639"/>
    <p:sldId id="2147475801" r:id="rId640"/>
    <p:sldId id="2147475802" r:id="rId641"/>
    <p:sldId id="2147475803" r:id="rId642"/>
    <p:sldId id="2147475804" r:id="rId643"/>
    <p:sldId id="2147475805" r:id="rId644"/>
    <p:sldId id="2147475806" r:id="rId645"/>
    <p:sldId id="2147475807" r:id="rId646"/>
    <p:sldId id="2147475808" r:id="rId647"/>
    <p:sldId id="2147475809" r:id="rId648"/>
    <p:sldId id="2147475810" r:id="rId649"/>
    <p:sldId id="2147475811" r:id="rId650"/>
    <p:sldId id="2147475812" r:id="rId651"/>
    <p:sldId id="2147475813" r:id="rId652"/>
    <p:sldId id="2147475814" r:id="rId653"/>
    <p:sldId id="2147475815" r:id="rId654"/>
    <p:sldId id="2147475816" r:id="rId655"/>
    <p:sldId id="2147475817" r:id="rId656"/>
    <p:sldId id="2147475818" r:id="rId657"/>
    <p:sldId id="2147475819" r:id="rId658"/>
    <p:sldId id="2147475820" r:id="rId659"/>
    <p:sldId id="2147475821" r:id="rId660"/>
    <p:sldId id="2147475822" r:id="rId661"/>
    <p:sldId id="2147475823" r:id="rId662"/>
    <p:sldId id="2147475824" r:id="rId663"/>
    <p:sldId id="2147475825" r:id="rId664"/>
    <p:sldId id="2147475826" r:id="rId665"/>
    <p:sldId id="2147475827" r:id="rId666"/>
    <p:sldId id="2147475828" r:id="rId667"/>
    <p:sldId id="2147475829" r:id="rId668"/>
    <p:sldId id="2147475830" r:id="rId669"/>
    <p:sldId id="2147475831" r:id="rId670"/>
    <p:sldId id="2147475832" r:id="rId671"/>
    <p:sldId id="2147475833" r:id="rId672"/>
    <p:sldId id="2147475834" r:id="rId673"/>
    <p:sldId id="2147475835" r:id="rId674"/>
    <p:sldId id="2147475836" r:id="rId675"/>
    <p:sldId id="2147475837" r:id="rId676"/>
    <p:sldId id="2147475838" r:id="rId677"/>
    <p:sldId id="2147475839" r:id="rId678"/>
    <p:sldId id="2147475840" r:id="rId679"/>
    <p:sldId id="2147475841" r:id="rId680"/>
    <p:sldId id="2147475842" r:id="rId681"/>
    <p:sldId id="2147475843" r:id="rId682"/>
    <p:sldId id="2147475844" r:id="rId683"/>
    <p:sldId id="2147475845" r:id="rId684"/>
    <p:sldId id="2147475846" r:id="rId685"/>
    <p:sldId id="2147475847" r:id="rId686"/>
    <p:sldId id="2147475848" r:id="rId687"/>
    <p:sldId id="2147475849" r:id="rId688"/>
    <p:sldId id="2147475850" r:id="rId689"/>
    <p:sldId id="2147475851" r:id="rId690"/>
    <p:sldId id="2147475852" r:id="rId691"/>
    <p:sldId id="2147475853" r:id="rId692"/>
    <p:sldId id="2147475854" r:id="rId693"/>
    <p:sldId id="2147475855" r:id="rId694"/>
    <p:sldId id="2147475856" r:id="rId695"/>
    <p:sldId id="2147475857" r:id="rId696"/>
    <p:sldId id="2147475858" r:id="rId697"/>
    <p:sldId id="2147475859" r:id="rId698"/>
    <p:sldId id="2147475860" r:id="rId699"/>
    <p:sldId id="2147475861" r:id="rId700"/>
    <p:sldId id="2147475862" r:id="rId701"/>
    <p:sldId id="2147475863" r:id="rId702"/>
    <p:sldId id="2147475864" r:id="rId703"/>
    <p:sldId id="2147475865" r:id="rId704"/>
    <p:sldId id="2147475866" r:id="rId705"/>
    <p:sldId id="2147475867" r:id="rId706"/>
    <p:sldId id="2147475868" r:id="rId707"/>
    <p:sldId id="2147475869" r:id="rId708"/>
    <p:sldId id="2147475870" r:id="rId709"/>
    <p:sldId id="2147475871" r:id="rId710"/>
    <p:sldId id="2147475872" r:id="rId711"/>
    <p:sldId id="2147475873" r:id="rId712"/>
    <p:sldId id="2147475874" r:id="rId713"/>
    <p:sldId id="2147475875" r:id="rId714"/>
    <p:sldId id="2147475876" r:id="rId715"/>
    <p:sldId id="2147475877" r:id="rId716"/>
    <p:sldId id="2147475878" r:id="rId717"/>
    <p:sldId id="2147475879" r:id="rId718"/>
    <p:sldId id="2147475880" r:id="rId719"/>
    <p:sldId id="2147475881" r:id="rId720"/>
    <p:sldId id="2147475882" r:id="rId721"/>
    <p:sldId id="2147475883" r:id="rId722"/>
    <p:sldId id="2147475884" r:id="rId723"/>
    <p:sldId id="2147475885" r:id="rId724"/>
    <p:sldId id="2147475886" r:id="rId725"/>
    <p:sldId id="2147475887" r:id="rId726"/>
    <p:sldId id="2147475888" r:id="rId727"/>
    <p:sldId id="2147475889" r:id="rId728"/>
    <p:sldId id="2147475890" r:id="rId729"/>
    <p:sldId id="2147475891" r:id="rId730"/>
    <p:sldId id="2147475892" r:id="rId731"/>
    <p:sldId id="2147475893" r:id="rId732"/>
    <p:sldId id="2147475894" r:id="rId733"/>
    <p:sldId id="2147475895" r:id="rId734"/>
    <p:sldId id="2147475896" r:id="rId735"/>
    <p:sldId id="2147475897" r:id="rId736"/>
    <p:sldId id="2147475898" r:id="rId737"/>
    <p:sldId id="2147475899" r:id="rId738"/>
    <p:sldId id="2147475900" r:id="rId739"/>
    <p:sldId id="2147475901" r:id="rId740"/>
    <p:sldId id="2147475902" r:id="rId741"/>
    <p:sldId id="2147475903" r:id="rId742"/>
    <p:sldId id="2147475904" r:id="rId743"/>
    <p:sldId id="2147475905" r:id="rId744"/>
    <p:sldId id="2147475906" r:id="rId745"/>
    <p:sldId id="2147475907" r:id="rId746"/>
    <p:sldId id="2147475908" r:id="rId747"/>
    <p:sldId id="2147475909" r:id="rId748"/>
    <p:sldId id="2147475910" r:id="rId749"/>
    <p:sldId id="2147475911" r:id="rId750"/>
    <p:sldId id="2147475912" r:id="rId751"/>
    <p:sldId id="2147475913" r:id="rId752"/>
    <p:sldId id="2147475914" r:id="rId753"/>
    <p:sldId id="2147475915" r:id="rId754"/>
    <p:sldId id="2147475916" r:id="rId755"/>
    <p:sldId id="2147475917" r:id="rId756"/>
    <p:sldId id="2147475918" r:id="rId757"/>
    <p:sldId id="2147475919" r:id="rId758"/>
    <p:sldId id="2147475920" r:id="rId759"/>
    <p:sldId id="2147475921" r:id="rId760"/>
    <p:sldId id="2147475922" r:id="rId761"/>
    <p:sldId id="2147475923" r:id="rId762"/>
    <p:sldId id="2147475924" r:id="rId763"/>
    <p:sldId id="2147475925" r:id="rId764"/>
    <p:sldId id="2147475926" r:id="rId765"/>
    <p:sldId id="2147475927" r:id="rId766"/>
    <p:sldId id="2147475928" r:id="rId767"/>
    <p:sldId id="2147475929" r:id="rId768"/>
    <p:sldId id="2147475930" r:id="rId769"/>
    <p:sldId id="2147475931" r:id="rId770"/>
    <p:sldId id="2147475932" r:id="rId771"/>
    <p:sldId id="2147475933" r:id="rId772"/>
    <p:sldId id="2147475934" r:id="rId773"/>
    <p:sldId id="2147475935" r:id="rId774"/>
    <p:sldId id="2147475936" r:id="rId775"/>
    <p:sldId id="2147475937" r:id="rId776"/>
    <p:sldId id="2147475938" r:id="rId777"/>
    <p:sldId id="2147475939" r:id="rId778"/>
    <p:sldId id="2147475940" r:id="rId779"/>
    <p:sldId id="2147475941" r:id="rId780"/>
    <p:sldId id="2147475942" r:id="rId781"/>
    <p:sldId id="2147475943" r:id="rId782"/>
    <p:sldId id="2147475944" r:id="rId783"/>
    <p:sldId id="2147475945" r:id="rId784"/>
    <p:sldId id="2147475946" r:id="rId785"/>
    <p:sldId id="2147475947" r:id="rId786"/>
    <p:sldId id="2147475948" r:id="rId787"/>
    <p:sldId id="2147475949" r:id="rId788"/>
    <p:sldId id="2147475950" r:id="rId789"/>
    <p:sldId id="2147475951" r:id="rId790"/>
    <p:sldId id="2147475952" r:id="rId791"/>
    <p:sldId id="2147475953" r:id="rId792"/>
    <p:sldId id="2147475954" r:id="rId793"/>
    <p:sldId id="2147475955" r:id="rId794"/>
    <p:sldId id="2147475956" r:id="rId795"/>
    <p:sldId id="2147475957" r:id="rId796"/>
    <p:sldId id="2147475958" r:id="rId797"/>
    <p:sldId id="2147475959" r:id="rId798"/>
    <p:sldId id="2147475960" r:id="rId799"/>
    <p:sldId id="2147475961" r:id="rId800"/>
    <p:sldId id="2147475962" r:id="rId801"/>
    <p:sldId id="2147475963" r:id="rId802"/>
    <p:sldId id="2147475964" r:id="rId803"/>
    <p:sldId id="2147475965" r:id="rId804"/>
    <p:sldId id="2147475966" r:id="rId805"/>
    <p:sldId id="2147475967" r:id="rId806"/>
    <p:sldId id="2147475968" r:id="rId807"/>
    <p:sldId id="2147475969" r:id="rId808"/>
    <p:sldId id="2147475970" r:id="rId809"/>
    <p:sldId id="2147475971" r:id="rId810"/>
    <p:sldId id="2147475972" r:id="rId811"/>
    <p:sldId id="2147475973" r:id="rId812"/>
    <p:sldId id="2147475974" r:id="rId813"/>
    <p:sldId id="2147475975" r:id="rId814"/>
    <p:sldId id="2147475976" r:id="rId815"/>
    <p:sldId id="2147475977" r:id="rId816"/>
    <p:sldId id="2147475978" r:id="rId817"/>
    <p:sldId id="2147475979" r:id="rId818"/>
    <p:sldId id="2147475980" r:id="rId819"/>
    <p:sldId id="2147475981" r:id="rId820"/>
    <p:sldId id="2147475982" r:id="rId821"/>
    <p:sldId id="2147475983" r:id="rId822"/>
    <p:sldId id="2147475984" r:id="rId823"/>
    <p:sldId id="2147475985" r:id="rId824"/>
    <p:sldId id="2147475986" r:id="rId825"/>
    <p:sldId id="2147475987" r:id="rId826"/>
    <p:sldId id="2147475988" r:id="rId827"/>
    <p:sldId id="2147475989" r:id="rId828"/>
    <p:sldId id="2147475990" r:id="rId829"/>
    <p:sldId id="2147475991" r:id="rId830"/>
    <p:sldId id="2147475992" r:id="rId831"/>
    <p:sldId id="2147475993" r:id="rId832"/>
    <p:sldId id="2147475994" r:id="rId8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3C16BEFC-BFE0-4F84-B6EF-056765AFB46B}">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Lst>
        </p14:section>
        <p14:section name="Share And Growth By Manufacturer By Retailer" id="{DBA52D85-B5C5-4D16-9002-5EB4CE08E630}">
          <p14:sldIdLst>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Lst>
        </p14:section>
        <p14:section name="Share And Growth By Brands By Retailer" id="{A1C72ABA-EAA9-4B0F-BD7D-829863B73ADC}">
          <p14:sldIdLst>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Lst>
        </p14:section>
        <p14:section name="Share And Growth By Manufacturer By Retailer" id="{21E67263-F5C4-4E86-85A1-8CB857AE8664}">
          <p14:sldIdLst>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Lst>
        </p14:section>
        <p14:section name="Share And Growth By Brands By Retailer" id="{E06B7DD4-3948-4685-8703-A1B7EB616BB5}">
          <p14:sldIdLst>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Lst>
        </p14:section>
        <p14:section name="Share And Growth By Manufacturer By Sector" id="{63A75655-F5D4-47B3-B04B-BCEE9E299EB8}">
          <p14:sldIdLst>
            <p14:sldId id="2147475445"/>
            <p14:sldId id="2147475446"/>
            <p14:sldId id="2147475447"/>
            <p14:sldId id="2147475448"/>
            <p14:sldId id="2147475449"/>
            <p14:sldId id="2147475450"/>
            <p14:sldId id="2147475451"/>
            <p14:sldId id="2147475452"/>
            <p14:sldId id="2147475453"/>
            <p14:sldId id="2147475454"/>
          </p14:sldIdLst>
        </p14:section>
        <p14:section name="Share And Growth By Brands By Sector" id="{65EB2161-8529-4839-88E9-2CBDBFC23411}">
          <p14:sldIdLst>
            <p14:sldId id="2147475455"/>
            <p14:sldId id="2147475456"/>
            <p14:sldId id="2147475457"/>
            <p14:sldId id="2147475458"/>
            <p14:sldId id="2147475459"/>
            <p14:sldId id="2147475460"/>
            <p14:sldId id="2147475461"/>
            <p14:sldId id="2147475462"/>
            <p14:sldId id="2147475463"/>
            <p14:sldId id="2147475464"/>
          </p14:sldIdLst>
        </p14:section>
        <p14:section name="Share And Growth By Manufacturer By Segment" id="{32D24171-48FA-459C-9374-8F3A67A3680C}">
          <p14:sldIdLst>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Lst>
        </p14:section>
        <p14:section name="Share And Growth By Brands By Segment" id="{19B05053-724B-4ABE-9A6D-72372AC5CF34}">
          <p14:sldIdLst>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Lst>
        </p14:section>
        <p14:section name="Share And Growth By Manufacturer By SubSegment" id="{C135607B-D9F1-4299-AC05-E4C14F226AF7}">
          <p14:sldIdLst>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Lst>
        </p14:section>
        <p14:section name="Share And Growth By Brands By SubSegment" id="{8C5A8861-715B-445E-8DD0-BE6959A7E7D6}">
          <p14:sldIdLst>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Lst>
        </p14:section>
        <p14:section name="Share And Growth By Manufacturer By SubCategory" id="{0D497D83-FDF7-4C98-BD63-E7F94CBBFAFC}">
          <p14:sldIdLst>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Lst>
        </p14:section>
        <p14:section name="Share And Growth By Brands By SubCategory" id="{C2C8B415-5CDD-4AC2-8B20-D63BCB550F58}">
          <p14:sldIdLst>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Lst>
        </p14:section>
        <p14:section name="Sales and Growth By Sector" id="{A199A915-EC2D-4AFE-BC6F-7FDA1AD01066}">
          <p14:sldIdLst>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Lst>
        </p14:section>
        <p14:section name="Sales and Growth By Segment" id="{AB7954B2-8363-46C0-843F-B37DE982DC6E}">
          <p14:sldIdLst>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Lst>
        </p14:section>
        <p14:section name="Sales and Growth By SubSegment" id="{4F867A7D-ED50-4AE7-915E-7F121554BE01}">
          <p14:sldIdLst>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Lst>
        </p14:section>
        <p14:section name="Sales and Growth By SubCategories" id="{A3FAA00B-34D8-4385-B7F1-7BD653CEFF2A}">
          <p14:sldIdLst>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Lst>
        </p14:section>
        <p14:section name="Share and Growth By Category for Region For Retailer" id="{D1C2EFE2-076A-4A31-A8BA-416030F619E7}">
          <p14:sldIdLst>
            <p14:sldId id="2147475797"/>
            <p14:sldId id="2147475798"/>
            <p14:sldId id="2147475799"/>
            <p14:sldId id="2147475800"/>
            <p14:sldId id="2147475801"/>
          </p14:sldIdLst>
        </p14:section>
        <p14:section name="Share and Growth By Sector for Region For Retailer" id="{5908F64A-E06E-42EF-8C26-63592FD4A1F5}">
          <p14:sldIdLst>
            <p14:sldId id="2147475802"/>
            <p14:sldId id="2147475803"/>
            <p14:sldId id="2147475804"/>
            <p14:sldId id="2147475805"/>
            <p14:sldId id="2147475806"/>
            <p14:sldId id="2147475807"/>
            <p14:sldId id="2147475808"/>
            <p14:sldId id="2147475809"/>
            <p14:sldId id="2147475810"/>
            <p14:sldId id="2147475811"/>
            <p14:sldId id="2147475812"/>
            <p14:sldId id="2147475813"/>
          </p14:sldIdLst>
        </p14:section>
        <p14:section name="Share and Growth By Segment for Region For Retailer" id="{7936157F-2744-4813-8358-C2A134684C62}">
          <p14:sldIdLst>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Lst>
        </p14:section>
        <p14:section name="Share and Growth By SubSegment for Region For Retailer" id="{BC1AE98D-0746-488C-B249-C227FA0851AB}">
          <p14:sldIdLst>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Lst>
        </p14:section>
        <p14:section name="Share and Growth By SubCategory for Region For Retailer" id="{6AD07F12-C81D-4574-8772-D3AFD840DAC5}">
          <p14:sldIdLst>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Lst>
        </p14:section>
        <p14:section name="Share and Growth By Category for Channel For Retailer" id="{6472FC6D-5937-4EF4-8D4D-FA29B224BF90}">
          <p14:sldIdLst>
            <p14:sldId id="2147475870"/>
            <p14:sldId id="2147475871"/>
            <p14:sldId id="2147475872"/>
            <p14:sldId id="2147475873"/>
            <p14:sldId id="2147475874"/>
          </p14:sldIdLst>
        </p14:section>
        <p14:section name="Share and Growth By Sector for Channel For Retailer" id="{3F433BA7-80FE-4484-9CD0-66A95A6994FF}">
          <p14:sldIdLst>
            <p14:sldId id="2147475875"/>
            <p14:sldId id="2147475876"/>
            <p14:sldId id="2147475877"/>
            <p14:sldId id="2147475878"/>
            <p14:sldId id="2147475879"/>
            <p14:sldId id="2147475880"/>
            <p14:sldId id="2147475881"/>
            <p14:sldId id="2147475882"/>
            <p14:sldId id="2147475883"/>
            <p14:sldId id="2147475884"/>
            <p14:sldId id="2147475885"/>
            <p14:sldId id="2147475886"/>
          </p14:sldIdLst>
        </p14:section>
        <p14:section name="Share and Growth By Segment for Channel For Retailer" id="{043A01CA-3434-4328-B8E5-B209AA4E42C6}">
          <p14:sldIdLst>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Lst>
        </p14:section>
        <p14:section name="Share and Growth By SubSegment for Channel For Retailer" id="{D617B8A6-DD14-404A-B4DF-757573FB28EF}">
          <p14:sldIdLst>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Lst>
        </p14:section>
        <p14:section name="Share and Growth By SubCategory for Channel For Retailer" id="{5B653474-ADAB-4E4E-AB5C-126308C5A477}">
          <p14:sldIdLst>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Lst>
        </p14:section>
        <p14:section name="Momentum Analysis By Retailers" id="{545F85CC-8A61-4BCB-863F-5CF277DCFBF9}">
          <p14:sldIdLst>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Lst>
        </p14:section>
        <p14:section name="Momentum Analysis By Retailers By Segments" id="{DF8FB8C1-8F8A-4E9E-8978-0745D637420F}">
          <p14:sldIdLst>
            <p14:sldId id="2147475979"/>
            <p14:sldId id="2147475980"/>
          </p14:sldIdLst>
        </p14:section>
        <p14:section name="Momentum Analysis By Retailers By SubSegments" id="{EADA6538-9E18-415E-9526-75FF60490CD3}">
          <p14:sldIdLst>
            <p14:sldId id="2147475981"/>
            <p14:sldId id="2147475982"/>
          </p14:sldIdLst>
        </p14:section>
        <p14:section name="Momentum Analysis By Retailers By SubCategories" id="{101360F0-B24C-4851-8065-456CACF5DC94}">
          <p14:sldIdLst>
            <p14:sldId id="2147475983"/>
            <p14:sldId id="2147475984"/>
          </p14:sldIdLst>
        </p14:section>
        <p14:section name="Momentum Analysis By Sectors" id="{DA3315BE-9B41-46F7-96A8-CD77EB1F1AA9}">
          <p14:sldIdLst>
            <p14:sldId id="2147475985"/>
            <p14:sldId id="2147475986"/>
            <p14:sldId id="2147475987"/>
            <p14:sldId id="2147475988"/>
            <p14:sldId id="2147475989"/>
            <p14:sldId id="2147475990"/>
            <p14:sldId id="2147475991"/>
            <p14:sldId id="2147475992"/>
            <p14:sldId id="2147475993"/>
            <p14:sldId id="214747599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58" y="62"/>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notesMaster" Target="notesMasters/notesMaster1.xml"/><Relationship Id="rId835" Type="http://schemas.openxmlformats.org/officeDocument/2006/relationships/presProps" Target="presProps.xml"/><Relationship Id="rId836" Type="http://schemas.openxmlformats.org/officeDocument/2006/relationships/viewProps" Target="viewProps.xml"/><Relationship Id="rId837" Type="http://schemas.openxmlformats.org/officeDocument/2006/relationships/theme" Target="theme/theme1.xml"/><Relationship Id="rId838" Type="http://schemas.openxmlformats.org/officeDocument/2006/relationships/tableStyles" Target="tableStyles.xml"/><Relationship Id="rId839" Type="http://schemas.microsoft.com/office/2015/10/relationships/revisionInfo" Target="revisionInfo.xml"/><Relationship Id="rId840" Type="http://schemas.microsoft.com/office/2018/10/relationships/authors" Target="authors.xml"/></Relationships>
</file>

<file path=ppt/charts/_rels/chart10.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9.xlsx"/></Relationships>
</file>

<file path=ppt/charts/_rels/chart1007.xml.rels><?xml version='1.0' encoding='UTF-8' standalone='yes'?>
<Relationships xmlns="http://schemas.openxmlformats.org/package/2006/relationships"><Relationship Id="rId1" Type="http://schemas.openxmlformats.org/officeDocument/2006/relationships/themeOverride" Target="../theme/themeOverride1007.xml"/><Relationship Id="rId2"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themeOverride" Target="../theme/themeOverride1008.xml"/><Relationship Id="rId2"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themeOverride" Target="../theme/themeOverride1009.xml"/><Relationship Id="rId2"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themeOverride" Target="../theme/themeOverride101.xml"/><Relationship Id="rId2"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themeOverride" Target="../theme/themeOverride1010.xml"/><Relationship Id="rId2"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themeOverride" Target="../theme/themeOverride1011.xml"/><Relationship Id="rId2"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themeOverride" Target="../theme/themeOverride1012.xml"/><Relationship Id="rId2" Type="http://schemas.openxmlformats.org/officeDocument/2006/relationships/package" Target="../embeddings/Microsoft_Excel_Worksheet1011.xlsx"/></Relationships>
</file>

<file path=ppt/charts/_rels/chart1016.xml.rels><?xml version='1.0' encoding='UTF-8' standalone='yes'?>
<Relationships xmlns="http://schemas.openxmlformats.org/package/2006/relationships"><Relationship Id="rId1" Type="http://schemas.openxmlformats.org/officeDocument/2006/relationships/themeOverride" Target="../theme/themeOverride1016.xml"/><Relationship Id="rId2"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themeOverride" Target="../theme/themeOverride1017.xml"/><Relationship Id="rId2"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themeOverride" Target="../theme/themeOverride1018.xml"/><Relationship Id="rId2" Type="http://schemas.openxmlformats.org/officeDocument/2006/relationships/package" Target="../embeddings/Microsoft_Excel_Worksheet1017.xlsx"/></Relationships>
</file>

<file path=ppt/charts/_rels/chart102.xml.rels><?xml version='1.0' encoding='UTF-8' standalone='yes'?>
<Relationships xmlns="http://schemas.openxmlformats.org/package/2006/relationships"><Relationship Id="rId1" Type="http://schemas.openxmlformats.org/officeDocument/2006/relationships/themeOverride" Target="../theme/themeOverride102.xml"/><Relationship Id="rId2" Type="http://schemas.openxmlformats.org/officeDocument/2006/relationships/package" Target="../embeddings/Microsoft_Excel_Worksheet101.xlsx"/></Relationships>
</file>

<file path=ppt/charts/_rels/chart1028.xml.rels><?xml version='1.0' encoding='UTF-8' standalone='yes'?>
<Relationships xmlns="http://schemas.openxmlformats.org/package/2006/relationships"><Relationship Id="rId1" Type="http://schemas.openxmlformats.org/officeDocument/2006/relationships/themeOverride" Target="../theme/themeOverride1028.xml"/><Relationship Id="rId2"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themeOverride" Target="../theme/themeOverride1029.xml"/><Relationship Id="rId2"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themeOverride" Target="../theme/themeOverride103.xml"/><Relationship Id="rId2"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themeOverride" Target="../theme/themeOverride1030.xml"/><Relationship Id="rId2" Type="http://schemas.openxmlformats.org/officeDocument/2006/relationships/package" Target="../embeddings/Microsoft_Excel_Worksheet1029.xlsx"/></Relationships>
</file>

<file path=ppt/charts/_rels/chart104.xml.rels><?xml version='1.0' encoding='UTF-8' standalone='yes'?>
<Relationships xmlns="http://schemas.openxmlformats.org/package/2006/relationships"><Relationship Id="rId1" Type="http://schemas.openxmlformats.org/officeDocument/2006/relationships/themeOverride" Target="../theme/themeOverride104.xml"/><Relationship Id="rId2"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themeOverride" Target="../theme/themeOverride1040.xml"/><Relationship Id="rId2"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themeOverride" Target="../theme/themeOverride1041.xml"/><Relationship Id="rId2"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themeOverride" Target="../theme/themeOverride1042.xml"/><Relationship Id="rId2"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themeOverride" Target="../theme/themeOverride1043.xml"/><Relationship Id="rId2"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themeOverride" Target="../theme/themeOverride1044.xml"/><Relationship Id="rId2"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themeOverride" Target="../theme/themeOverride1045.xml"/><Relationship Id="rId2" Type="http://schemas.openxmlformats.org/officeDocument/2006/relationships/package" Target="../embeddings/Microsoft_Excel_Worksheet1044.xlsx"/></Relationships>
</file>

<file path=ppt/charts/_rels/chart1049.xml.rels><?xml version='1.0' encoding='UTF-8' standalone='yes'?>
<Relationships xmlns="http://schemas.openxmlformats.org/package/2006/relationships"><Relationship Id="rId1" Type="http://schemas.openxmlformats.org/officeDocument/2006/relationships/themeOverride" Target="../theme/themeOverride1049.xml"/><Relationship Id="rId2"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themeOverride" Target="../theme/themeOverride105.xml"/><Relationship Id="rId2"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themeOverride" Target="../theme/themeOverride1050.xml"/><Relationship Id="rId2"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themeOverride" Target="../theme/themeOverride1051.xml"/><Relationship Id="rId2" Type="http://schemas.openxmlformats.org/officeDocument/2006/relationships/package" Target="../embeddings/Microsoft_Excel_Worksheet1050.xlsx"/></Relationships>
</file>

<file path=ppt/charts/_rels/chart1061.xml.rels><?xml version='1.0' encoding='UTF-8' standalone='yes'?>
<Relationships xmlns="http://schemas.openxmlformats.org/package/2006/relationships"><Relationship Id="rId1" Type="http://schemas.openxmlformats.org/officeDocument/2006/relationships/themeOverride" Target="../theme/themeOverride1061.xml"/><Relationship Id="rId2"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themeOverride" Target="../theme/themeOverride1062.xml"/><Relationship Id="rId2"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themeOverride" Target="../theme/themeOverride1063.xml"/><Relationship Id="rId2" Type="http://schemas.openxmlformats.org/officeDocument/2006/relationships/package" Target="../embeddings/Microsoft_Excel_Worksheet1062.xlsx"/></Relationships>
</file>

<file path=ppt/charts/_rels/chart1073.xml.rels><?xml version='1.0' encoding='UTF-8' standalone='yes'?>
<Relationships xmlns="http://schemas.openxmlformats.org/package/2006/relationships"><Relationship Id="rId1" Type="http://schemas.openxmlformats.org/officeDocument/2006/relationships/themeOverride" Target="../theme/themeOverride1073.xml"/><Relationship Id="rId2"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themeOverride" Target="../theme/themeOverride1074.xml"/><Relationship Id="rId2"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themeOverride" Target="../theme/themeOverride1075.xml"/><Relationship Id="rId2" Type="http://schemas.openxmlformats.org/officeDocument/2006/relationships/package" Target="../embeddings/Microsoft_Excel_Worksheet1074.xlsx"/></Relationships>
</file>

<file path=ppt/charts/_rels/chart1082.xml.rels><?xml version='1.0' encoding='UTF-8' standalone='yes'?>
<Relationships xmlns="http://schemas.openxmlformats.org/package/2006/relationships"><Relationship Id="rId1" Type="http://schemas.openxmlformats.org/officeDocument/2006/relationships/themeOverride" Target="../theme/themeOverride1082.xml"/><Relationship Id="rId2" Type="http://schemas.openxmlformats.org/officeDocument/2006/relationships/package" Target="../embeddings/Microsoft_Excel_Worksheet1081.xlsx"/></Relationships>
</file>

<file path=ppt/charts/_rels/chart1092.xml.rels><?xml version='1.0' encoding='UTF-8' standalone='yes'?>
<Relationships xmlns="http://schemas.openxmlformats.org/package/2006/relationships"><Relationship Id="rId1" Type="http://schemas.openxmlformats.org/officeDocument/2006/relationships/themeOverride" Target="../theme/themeOverride1092.xml"/><Relationship Id="rId2"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themeOverride" Target="../theme/themeOverride1093.xml"/><Relationship Id="rId2"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themeOverride" Target="../theme/themeOverride1094.xml"/><Relationship Id="rId2" Type="http://schemas.openxmlformats.org/officeDocument/2006/relationships/package" Target="../embeddings/Microsoft_Excel_Worksheet1093.xlsx"/></Relationships>
</file>

<file path=ppt/charts/_rels/chart11.xml.rels><?xml version='1.0' encoding='UTF-8' standalone='yes'?>
<Relationships xmlns="http://schemas.openxmlformats.org/package/2006/relationships"><Relationship Id="rId1" Type="http://schemas.openxmlformats.org/officeDocument/2006/relationships/themeOverride" Target="../theme/themeOverride11.xml"/><Relationship Id="rId2" Type="http://schemas.openxmlformats.org/officeDocument/2006/relationships/package" Target="../embeddings/Microsoft_Excel_Worksheet10.xlsx"/></Relationships>
</file>

<file path=ppt/charts/_rels/chart1113.xml.rels><?xml version='1.0' encoding='UTF-8' standalone='yes'?>
<Relationships xmlns="http://schemas.openxmlformats.org/package/2006/relationships"><Relationship Id="rId1" Type="http://schemas.openxmlformats.org/officeDocument/2006/relationships/themeOverride" Target="../theme/themeOverride1113.xml"/><Relationship Id="rId2"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themeOverride" Target="../theme/themeOverride1114.xml"/><Relationship Id="rId2"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themeOverride" Target="../theme/themeOverride1115.xml"/><Relationship Id="rId2" Type="http://schemas.openxmlformats.org/officeDocument/2006/relationships/package" Target="../embeddings/Microsoft_Excel_Worksheet1114.xlsx"/></Relationships>
</file>

<file path=ppt/charts/_rels/chart1125.xml.rels><?xml version='1.0' encoding='UTF-8' standalone='yes'?>
<Relationships xmlns="http://schemas.openxmlformats.org/package/2006/relationships"><Relationship Id="rId1" Type="http://schemas.openxmlformats.org/officeDocument/2006/relationships/themeOverride" Target="../theme/themeOverride1125.xml"/><Relationship Id="rId2"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themeOverride" Target="../theme/themeOverride1126.xml"/><Relationship Id="rId2"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themeOverride" Target="../theme/themeOverride1127.xml"/><Relationship Id="rId2"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themeOverride" Target="../theme/themeOverride1128.xml"/><Relationship Id="rId2"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themeOverride" Target="../theme/themeOverride1129.xml"/><Relationship Id="rId2" Type="http://schemas.openxmlformats.org/officeDocument/2006/relationships/package" Target="../embeddings/Microsoft_Excel_Worksheet1128.xlsx"/></Relationships>
</file>

<file path=ppt/charts/_rels/chart1130.xml.rels><?xml version='1.0' encoding='UTF-8' standalone='yes'?>
<Relationships xmlns="http://schemas.openxmlformats.org/package/2006/relationships"><Relationship Id="rId1" Type="http://schemas.openxmlformats.org/officeDocument/2006/relationships/themeOverride" Target="../theme/themeOverride1130.xml"/><Relationship Id="rId2" Type="http://schemas.openxmlformats.org/officeDocument/2006/relationships/package" Target="../embeddings/Microsoft_Excel_Worksheet1129.xlsx"/></Relationships>
</file>

<file path=ppt/charts/_rels/chart1134.xml.rels><?xml version='1.0' encoding='UTF-8' standalone='yes'?>
<Relationships xmlns="http://schemas.openxmlformats.org/package/2006/relationships"><Relationship Id="rId1" Type="http://schemas.openxmlformats.org/officeDocument/2006/relationships/themeOverride" Target="../theme/themeOverride1134.xml"/><Relationship Id="rId2" Type="http://schemas.openxmlformats.org/officeDocument/2006/relationships/package" Target="../embeddings/Microsoft_Excel_Worksheet1133.xlsx"/></Relationships>
</file>

<file path=ppt/charts/_rels/chart1135.xml.rels><?xml version='1.0' encoding='UTF-8' standalone='yes'?>
<Relationships xmlns="http://schemas.openxmlformats.org/package/2006/relationships"><Relationship Id="rId1" Type="http://schemas.openxmlformats.org/officeDocument/2006/relationships/themeOverride" Target="../theme/themeOverride1135.xml"/><Relationship Id="rId2" Type="http://schemas.openxmlformats.org/officeDocument/2006/relationships/package" Target="../embeddings/Microsoft_Excel_Worksheet1134.xlsx"/></Relationships>
</file>

<file path=ppt/charts/_rels/chart1136.xml.rels><?xml version='1.0' encoding='UTF-8' standalone='yes'?>
<Relationships xmlns="http://schemas.openxmlformats.org/package/2006/relationships"><Relationship Id="rId1" Type="http://schemas.openxmlformats.org/officeDocument/2006/relationships/themeOverride" Target="../theme/themeOverride1136.xml"/><Relationship Id="rId2" Type="http://schemas.openxmlformats.org/officeDocument/2006/relationships/package" Target="../embeddings/Microsoft_Excel_Worksheet1135.xlsx"/></Relationships>
</file>

<file path=ppt/charts/_rels/chart1146.xml.rels><?xml version='1.0' encoding='UTF-8' standalone='yes'?>
<Relationships xmlns="http://schemas.openxmlformats.org/package/2006/relationships"><Relationship Id="rId1" Type="http://schemas.openxmlformats.org/officeDocument/2006/relationships/themeOverride" Target="../theme/themeOverride1146.xml"/><Relationship Id="rId2" Type="http://schemas.openxmlformats.org/officeDocument/2006/relationships/package" Target="../embeddings/Microsoft_Excel_Worksheet1145.xlsx"/></Relationships>
</file>

<file path=ppt/charts/_rels/chart1147.xml.rels><?xml version='1.0' encoding='UTF-8' standalone='yes'?>
<Relationships xmlns="http://schemas.openxmlformats.org/package/2006/relationships"><Relationship Id="rId1" Type="http://schemas.openxmlformats.org/officeDocument/2006/relationships/themeOverride" Target="../theme/themeOverride1147.xml"/><Relationship Id="rId2"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themeOverride" Target="../theme/themeOverride1148.xml"/><Relationship Id="rId2" Type="http://schemas.openxmlformats.org/officeDocument/2006/relationships/package" Target="../embeddings/Microsoft_Excel_Worksheet1147.xlsx"/></Relationships>
</file>

<file path=ppt/charts/_rels/chart1158.xml.rels><?xml version='1.0' encoding='UTF-8' standalone='yes'?>
<Relationships xmlns="http://schemas.openxmlformats.org/package/2006/relationships"><Relationship Id="rId1" Type="http://schemas.openxmlformats.org/officeDocument/2006/relationships/themeOverride" Target="../theme/themeOverride1158.xml"/><Relationship Id="rId2" Type="http://schemas.openxmlformats.org/officeDocument/2006/relationships/package" Target="../embeddings/Microsoft_Excel_Worksheet1157.xlsx"/></Relationships>
</file>

<file path=ppt/charts/_rels/chart1159.xml.rels><?xml version='1.0' encoding='UTF-8' standalone='yes'?>
<Relationships xmlns="http://schemas.openxmlformats.org/package/2006/relationships"><Relationship Id="rId1" Type="http://schemas.openxmlformats.org/officeDocument/2006/relationships/themeOverride" Target="../theme/themeOverride1159.xml"/><Relationship Id="rId2" Type="http://schemas.openxmlformats.org/officeDocument/2006/relationships/package" Target="../embeddings/Microsoft_Excel_Worksheet1158.xlsx"/></Relationships>
</file>

<file path=ppt/charts/_rels/chart1160.xml.rels><?xml version='1.0' encoding='UTF-8' standalone='yes'?>
<Relationships xmlns="http://schemas.openxmlformats.org/package/2006/relationships"><Relationship Id="rId1" Type="http://schemas.openxmlformats.org/officeDocument/2006/relationships/themeOverride" Target="../theme/themeOverride1160.xml"/><Relationship Id="rId2" Type="http://schemas.openxmlformats.org/officeDocument/2006/relationships/package" Target="../embeddings/Microsoft_Excel_Worksheet1159.xlsx"/></Relationships>
</file>

<file path=ppt/charts/_rels/chart1161.xml.rels><?xml version='1.0' encoding='UTF-8' standalone='yes'?>
<Relationships xmlns="http://schemas.openxmlformats.org/package/2006/relationships"><Relationship Id="rId1" Type="http://schemas.openxmlformats.org/officeDocument/2006/relationships/themeOverride" Target="../theme/themeOverride1161.xml"/><Relationship Id="rId2"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themeOverride" Target="../theme/themeOverride1162.xml"/><Relationship Id="rId2"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themeOverride" Target="../theme/themeOverride1163.xml"/><Relationship Id="rId2"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themeOverride" Target="../theme/themeOverride1164.xml"/><Relationship Id="rId2" Type="http://schemas.openxmlformats.org/officeDocument/2006/relationships/package" Target="../embeddings/Microsoft_Excel_Worksheet1163.xlsx"/></Relationships>
</file>

<file path=ppt/charts/_rels/chart1165.xml.rels><?xml version='1.0' encoding='UTF-8' standalone='yes'?>
<Relationships xmlns="http://schemas.openxmlformats.org/package/2006/relationships"><Relationship Id="rId1" Type="http://schemas.openxmlformats.org/officeDocument/2006/relationships/themeOverride" Target="../theme/themeOverride1165.xml"/><Relationship Id="rId2" Type="http://schemas.openxmlformats.org/officeDocument/2006/relationships/package" Target="../embeddings/Microsoft_Excel_Worksheet1164.xlsx"/></Relationships>
</file>

<file path=ppt/charts/_rels/chart1166.xml.rels><?xml version='1.0' encoding='UTF-8' standalone='yes'?>
<Relationships xmlns="http://schemas.openxmlformats.org/package/2006/relationships"><Relationship Id="rId1" Type="http://schemas.openxmlformats.org/officeDocument/2006/relationships/themeOverride" Target="../theme/themeOverride1166.xml"/><Relationship Id="rId2" Type="http://schemas.openxmlformats.org/officeDocument/2006/relationships/package" Target="../embeddings/Microsoft_Excel_Worksheet1165.xlsx"/></Relationships>
</file>

<file path=ppt/charts/_rels/chart1167.xml.rels><?xml version='1.0' encoding='UTF-8' standalone='yes'?>
<Relationships xmlns="http://schemas.openxmlformats.org/package/2006/relationships"><Relationship Id="rId1" Type="http://schemas.openxmlformats.org/officeDocument/2006/relationships/themeOverride" Target="../theme/themeOverride1167.xml"/><Relationship Id="rId2" Type="http://schemas.openxmlformats.org/officeDocument/2006/relationships/package" Target="../embeddings/Microsoft_Excel_Worksheet1166.xlsx"/></Relationships>
</file>

<file path=ppt/charts/_rels/chart1168.xml.rels><?xml version='1.0' encoding='UTF-8' standalone='yes'?>
<Relationships xmlns="http://schemas.openxmlformats.org/package/2006/relationships"><Relationship Id="rId1" Type="http://schemas.openxmlformats.org/officeDocument/2006/relationships/themeOverride" Target="../theme/themeOverride1168.xml"/><Relationship Id="rId2" Type="http://schemas.openxmlformats.org/officeDocument/2006/relationships/package" Target="../embeddings/Microsoft_Excel_Worksheet1167.xlsx"/></Relationships>
</file>

<file path=ppt/charts/_rels/chart1169.xml.rels><?xml version='1.0' encoding='UTF-8' standalone='yes'?>
<Relationships xmlns="http://schemas.openxmlformats.org/package/2006/relationships"><Relationship Id="rId1" Type="http://schemas.openxmlformats.org/officeDocument/2006/relationships/themeOverride" Target="../theme/themeOverride1169.xml"/><Relationship Id="rId2" Type="http://schemas.openxmlformats.org/officeDocument/2006/relationships/package" Target="../embeddings/Microsoft_Excel_Worksheet1168.xlsx"/></Relationships>
</file>

<file path=ppt/charts/_rels/chart1179.xml.rels><?xml version='1.0' encoding='UTF-8' standalone='yes'?>
<Relationships xmlns="http://schemas.openxmlformats.org/package/2006/relationships"><Relationship Id="rId1" Type="http://schemas.openxmlformats.org/officeDocument/2006/relationships/themeOverride" Target="../theme/themeOverride1179.xml"/><Relationship Id="rId2" Type="http://schemas.openxmlformats.org/officeDocument/2006/relationships/package" Target="../embeddings/Microsoft_Excel_Worksheet1178.xlsx"/></Relationships>
</file>

<file path=ppt/charts/_rels/chart1180.xml.rels><?xml version='1.0' encoding='UTF-8' standalone='yes'?>
<Relationships xmlns="http://schemas.openxmlformats.org/package/2006/relationships"><Relationship Id="rId1" Type="http://schemas.openxmlformats.org/officeDocument/2006/relationships/themeOverride" Target="../theme/themeOverride1180.xml"/><Relationship Id="rId2" Type="http://schemas.openxmlformats.org/officeDocument/2006/relationships/package" Target="../embeddings/Microsoft_Excel_Worksheet1179.xlsx"/></Relationships>
</file>

<file path=ppt/charts/_rels/chart1189.xml.rels><?xml version='1.0' encoding='UTF-8' standalone='yes'?>
<Relationships xmlns="http://schemas.openxmlformats.org/package/2006/relationships"><Relationship Id="rId1" Type="http://schemas.openxmlformats.org/officeDocument/2006/relationships/themeOverride" Target="../theme/themeOverride1189.xml"/><Relationship Id="rId2" Type="http://schemas.openxmlformats.org/officeDocument/2006/relationships/package" Target="../embeddings/Microsoft_Excel_Worksheet1188.xlsx"/></Relationships>
</file>

<file path=ppt/charts/_rels/chart1190.xml.rels><?xml version='1.0' encoding='UTF-8' standalone='yes'?>
<Relationships xmlns="http://schemas.openxmlformats.org/package/2006/relationships"><Relationship Id="rId1" Type="http://schemas.openxmlformats.org/officeDocument/2006/relationships/themeOverride" Target="../theme/themeOverride1190.xml"/><Relationship Id="rId2" Type="http://schemas.openxmlformats.org/officeDocument/2006/relationships/package" Target="../embeddings/Microsoft_Excel_Worksheet1189.xlsx"/></Relationships>
</file>

<file path=ppt/charts/_rels/chart1191.xml.rels><?xml version='1.0' encoding='UTF-8' standalone='yes'?>
<Relationships xmlns="http://schemas.openxmlformats.org/package/2006/relationships"><Relationship Id="rId1" Type="http://schemas.openxmlformats.org/officeDocument/2006/relationships/themeOverride" Target="../theme/themeOverride1191.xml"/><Relationship Id="rId2" Type="http://schemas.openxmlformats.org/officeDocument/2006/relationships/package" Target="../embeddings/Microsoft_Excel_Worksheet1190.xlsx"/></Relationships>
</file>

<file path=ppt/charts/_rels/chart1195.xml.rels><?xml version='1.0' encoding='UTF-8' standalone='yes'?>
<Relationships xmlns="http://schemas.openxmlformats.org/package/2006/relationships"><Relationship Id="rId1" Type="http://schemas.openxmlformats.org/officeDocument/2006/relationships/themeOverride" Target="../theme/themeOverride1195.xml"/><Relationship Id="rId2"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themeOverride" Target="../theme/themeOverride1196.xml"/><Relationship Id="rId2" Type="http://schemas.openxmlformats.org/officeDocument/2006/relationships/package" Target="../embeddings/Microsoft_Excel_Worksheet1195.xlsx"/></Relationships>
</file>

<file path=ppt/charts/_rels/chart1197.xml.rels><?xml version='1.0' encoding='UTF-8' standalone='yes'?>
<Relationships xmlns="http://schemas.openxmlformats.org/package/2006/relationships"><Relationship Id="rId1" Type="http://schemas.openxmlformats.org/officeDocument/2006/relationships/themeOverride" Target="../theme/themeOverride1197.xml"/><Relationship Id="rId2" Type="http://schemas.openxmlformats.org/officeDocument/2006/relationships/package" Target="../embeddings/Microsoft_Excel_Worksheet1196.xlsx"/></Relationships>
</file>

<file path=ppt/charts/_rels/chart1198.xml.rels><?xml version='1.0' encoding='UTF-8' standalone='yes'?>
<Relationships xmlns="http://schemas.openxmlformats.org/package/2006/relationships"><Relationship Id="rId1" Type="http://schemas.openxmlformats.org/officeDocument/2006/relationships/themeOverride" Target="../theme/themeOverride1198.xml"/><Relationship Id="rId2" Type="http://schemas.openxmlformats.org/officeDocument/2006/relationships/package" Target="../embeddings/Microsoft_Excel_Worksheet1197.xlsx"/></Relationships>
</file>

<file path=ppt/charts/_rels/chart1199.xml.rels><?xml version='1.0' encoding='UTF-8' standalone='yes'?>
<Relationships xmlns="http://schemas.openxmlformats.org/package/2006/relationships"><Relationship Id="rId1" Type="http://schemas.openxmlformats.org/officeDocument/2006/relationships/themeOverride" Target="../theme/themeOverride1199.xml"/><Relationship Id="rId2" Type="http://schemas.openxmlformats.org/officeDocument/2006/relationships/package" Target="../embeddings/Microsoft_Excel_Worksheet1198.xlsx"/></Relationships>
</file>

<file path=ppt/charts/_rels/chart12.xml.rels><?xml version='1.0' encoding='UTF-8' standalone='yes'?>
<Relationships xmlns="http://schemas.openxmlformats.org/package/2006/relationships"><Relationship Id="rId1" Type="http://schemas.openxmlformats.org/officeDocument/2006/relationships/themeOverride" Target="../theme/themeOverride12.xml"/><Relationship Id="rId2" Type="http://schemas.openxmlformats.org/officeDocument/2006/relationships/package" Target="../embeddings/Microsoft_Excel_Worksheet11.xlsx"/></Relationships>
</file>

<file path=ppt/charts/_rels/chart1200.xml.rels><?xml version='1.0' encoding='UTF-8' standalone='yes'?>
<Relationships xmlns="http://schemas.openxmlformats.org/package/2006/relationships"><Relationship Id="rId1" Type="http://schemas.openxmlformats.org/officeDocument/2006/relationships/themeOverride" Target="../theme/themeOverride1200.xml"/><Relationship Id="rId2" Type="http://schemas.openxmlformats.org/officeDocument/2006/relationships/package" Target="../embeddings/Microsoft_Excel_Worksheet1199.xlsx"/></Relationships>
</file>

<file path=ppt/charts/_rels/chart1208.xml.rels><?xml version='1.0' encoding='UTF-8' standalone='yes'?>
<Relationships xmlns="http://schemas.openxmlformats.org/package/2006/relationships"><Relationship Id="rId1" Type="http://schemas.openxmlformats.org/officeDocument/2006/relationships/themeOverride" Target="../theme/themeOverride1208.xml"/><Relationship Id="rId2" Type="http://schemas.openxmlformats.org/officeDocument/2006/relationships/package" Target="../embeddings/Microsoft_Excel_Worksheet1207.xlsx"/></Relationships>
</file>

<file path=ppt/charts/_rels/chart1209.xml.rels><?xml version='1.0' encoding='UTF-8' standalone='yes'?>
<Relationships xmlns="http://schemas.openxmlformats.org/package/2006/relationships"><Relationship Id="rId1" Type="http://schemas.openxmlformats.org/officeDocument/2006/relationships/themeOverride" Target="../theme/themeOverride1209.xml"/><Relationship Id="rId2" Type="http://schemas.openxmlformats.org/officeDocument/2006/relationships/package" Target="../embeddings/Microsoft_Excel_Worksheet1208.xlsx"/></Relationships>
</file>

<file path=ppt/charts/_rels/chart121.xml.rels><?xml version='1.0' encoding='UTF-8' standalone='yes'?>
<Relationships xmlns="http://schemas.openxmlformats.org/package/2006/relationships"><Relationship Id="rId1" Type="http://schemas.openxmlformats.org/officeDocument/2006/relationships/themeOverride" Target="../theme/themeOverride121.xml"/><Relationship Id="rId2" Type="http://schemas.openxmlformats.org/officeDocument/2006/relationships/package" Target="../embeddings/Microsoft_Excel_Worksheet120.xlsx"/></Relationships>
</file>

<file path=ppt/charts/_rels/chart1210.xml.rels><?xml version='1.0' encoding='UTF-8' standalone='yes'?>
<Relationships xmlns="http://schemas.openxmlformats.org/package/2006/relationships"><Relationship Id="rId1" Type="http://schemas.openxmlformats.org/officeDocument/2006/relationships/themeOverride" Target="../theme/themeOverride1210.xml"/><Relationship Id="rId2" Type="http://schemas.openxmlformats.org/officeDocument/2006/relationships/package" Target="../embeddings/Microsoft_Excel_Worksheet1209.xlsx"/></Relationships>
</file>

<file path=ppt/charts/_rels/chart122.xml.rels><?xml version='1.0' encoding='UTF-8' standalone='yes'?>
<Relationships xmlns="http://schemas.openxmlformats.org/package/2006/relationships"><Relationship Id="rId1" Type="http://schemas.openxmlformats.org/officeDocument/2006/relationships/themeOverride" Target="../theme/themeOverride122.xml"/><Relationship Id="rId2" Type="http://schemas.openxmlformats.org/officeDocument/2006/relationships/package" Target="../embeddings/Microsoft_Excel_Worksheet121.xlsx"/></Relationships>
</file>

<file path=ppt/charts/_rels/chart1222.xml.rels><?xml version='1.0' encoding='UTF-8' standalone='yes'?>
<Relationships xmlns="http://schemas.openxmlformats.org/package/2006/relationships"><Relationship Id="rId1" Type="http://schemas.openxmlformats.org/officeDocument/2006/relationships/themeOverride" Target="../theme/themeOverride1222.xml"/><Relationship Id="rId2" Type="http://schemas.openxmlformats.org/officeDocument/2006/relationships/package" Target="../embeddings/Microsoft_Excel_Worksheet1221.xlsx"/></Relationships>
</file>

<file path=ppt/charts/_rels/chart1223.xml.rels><?xml version='1.0' encoding='UTF-8' standalone='yes'?>
<Relationships xmlns="http://schemas.openxmlformats.org/package/2006/relationships"><Relationship Id="rId1" Type="http://schemas.openxmlformats.org/officeDocument/2006/relationships/themeOverride" Target="../theme/themeOverride1223.xml"/><Relationship Id="rId2"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themeOverride" Target="../theme/themeOverride1224.xml"/><Relationship Id="rId2" Type="http://schemas.openxmlformats.org/officeDocument/2006/relationships/package" Target="../embeddings/Microsoft_Excel_Worksheet1223.xlsx"/></Relationships>
</file>

<file path=ppt/charts/_rels/chart123.xml.rels><?xml version='1.0' encoding='UTF-8' standalone='yes'?>
<Relationships xmlns="http://schemas.openxmlformats.org/package/2006/relationships"><Relationship Id="rId1" Type="http://schemas.openxmlformats.org/officeDocument/2006/relationships/themeOverride" Target="../theme/themeOverride123.xml"/><Relationship Id="rId2" Type="http://schemas.openxmlformats.org/officeDocument/2006/relationships/package" Target="../embeddings/Microsoft_Excel_Worksheet122.xlsx"/></Relationships>
</file>

<file path=ppt/charts/_rels/chart1233.xml.rels><?xml version='1.0' encoding='UTF-8' standalone='yes'?>
<Relationships xmlns="http://schemas.openxmlformats.org/package/2006/relationships"><Relationship Id="rId1" Type="http://schemas.openxmlformats.org/officeDocument/2006/relationships/themeOverride" Target="../theme/themeOverride1233.xml"/><Relationship Id="rId2" Type="http://schemas.openxmlformats.org/officeDocument/2006/relationships/package" Target="../embeddings/Microsoft_Excel_Worksheet1232.xlsx"/></Relationships>
</file>

<file path=ppt/charts/_rels/chart1234.xml.rels><?xml version='1.0' encoding='UTF-8' standalone='yes'?>
<Relationships xmlns="http://schemas.openxmlformats.org/package/2006/relationships"><Relationship Id="rId1" Type="http://schemas.openxmlformats.org/officeDocument/2006/relationships/themeOverride" Target="../theme/themeOverride1234.xml"/><Relationship Id="rId2" Type="http://schemas.openxmlformats.org/officeDocument/2006/relationships/package" Target="../embeddings/Microsoft_Excel_Worksheet1233.xlsx"/></Relationships>
</file>

<file path=ppt/charts/_rels/chart1235.xml.rels><?xml version='1.0' encoding='UTF-8' standalone='yes'?>
<Relationships xmlns="http://schemas.openxmlformats.org/package/2006/relationships"><Relationship Id="rId1" Type="http://schemas.openxmlformats.org/officeDocument/2006/relationships/themeOverride" Target="../theme/themeOverride1235.xml"/><Relationship Id="rId2" Type="http://schemas.openxmlformats.org/officeDocument/2006/relationships/package" Target="../embeddings/Microsoft_Excel_Worksheet1234.xlsx"/></Relationships>
</file>

<file path=ppt/charts/_rels/chart1236.xml.rels><?xml version='1.0' encoding='UTF-8' standalone='yes'?>
<Relationships xmlns="http://schemas.openxmlformats.org/package/2006/relationships"><Relationship Id="rId1" Type="http://schemas.openxmlformats.org/officeDocument/2006/relationships/themeOverride" Target="../theme/themeOverride1236.xml"/><Relationship Id="rId2" Type="http://schemas.openxmlformats.org/officeDocument/2006/relationships/package" Target="../embeddings/Microsoft_Excel_Worksheet1235.xlsx"/></Relationships>
</file>

<file path=ppt/charts/_rels/chart1237.xml.rels><?xml version='1.0' encoding='UTF-8' standalone='yes'?>
<Relationships xmlns="http://schemas.openxmlformats.org/package/2006/relationships"><Relationship Id="rId1" Type="http://schemas.openxmlformats.org/officeDocument/2006/relationships/themeOverride" Target="../theme/themeOverride1237.xml"/><Relationship Id="rId2" Type="http://schemas.openxmlformats.org/officeDocument/2006/relationships/package" Target="../embeddings/Microsoft_Excel_Worksheet1236.xlsx"/></Relationships>
</file>

<file path=ppt/charts/_rels/chart124.xml.rels><?xml version='1.0' encoding='UTF-8' standalone='yes'?>
<Relationships xmlns="http://schemas.openxmlformats.org/package/2006/relationships"><Relationship Id="rId1" Type="http://schemas.openxmlformats.org/officeDocument/2006/relationships/themeOverride" Target="../theme/themeOverride124.xml"/><Relationship Id="rId2" Type="http://schemas.openxmlformats.org/officeDocument/2006/relationships/package" Target="../embeddings/Microsoft_Excel_Worksheet123.xlsx"/></Relationships>
</file>

<file path=ppt/charts/_rels/chart1249.xml.rels><?xml version='1.0' encoding='UTF-8' standalone='yes'?>
<Relationships xmlns="http://schemas.openxmlformats.org/package/2006/relationships"><Relationship Id="rId1" Type="http://schemas.openxmlformats.org/officeDocument/2006/relationships/themeOverride" Target="../theme/themeOverride1249.xml"/><Relationship Id="rId2" Type="http://schemas.openxmlformats.org/officeDocument/2006/relationships/package" Target="../embeddings/Microsoft_Excel_Worksheet1248.xlsx"/></Relationships>
</file>

<file path=ppt/charts/_rels/chart125.xml.rels><?xml version='1.0' encoding='UTF-8' standalone='yes'?>
<Relationships xmlns="http://schemas.openxmlformats.org/package/2006/relationships"><Relationship Id="rId1" Type="http://schemas.openxmlformats.org/officeDocument/2006/relationships/themeOverride" Target="../theme/themeOverride125.xml"/><Relationship Id="rId2" Type="http://schemas.openxmlformats.org/officeDocument/2006/relationships/package" Target="../embeddings/Microsoft_Excel_Worksheet124.xlsx"/></Relationships>
</file>

<file path=ppt/charts/_rels/chart1250.xml.rels><?xml version='1.0' encoding='UTF-8' standalone='yes'?>
<Relationships xmlns="http://schemas.openxmlformats.org/package/2006/relationships"><Relationship Id="rId1" Type="http://schemas.openxmlformats.org/officeDocument/2006/relationships/themeOverride" Target="../theme/themeOverride1250.xml"/><Relationship Id="rId2" Type="http://schemas.openxmlformats.org/officeDocument/2006/relationships/package" Target="../embeddings/Microsoft_Excel_Worksheet1249.xlsx"/></Relationships>
</file>

<file path=ppt/charts/_rels/chart1251.xml.rels><?xml version='1.0' encoding='UTF-8' standalone='yes'?>
<Relationships xmlns="http://schemas.openxmlformats.org/package/2006/relationships"><Relationship Id="rId1" Type="http://schemas.openxmlformats.org/officeDocument/2006/relationships/themeOverride" Target="../theme/themeOverride1251.xml"/><Relationship Id="rId2" Type="http://schemas.openxmlformats.org/officeDocument/2006/relationships/package" Target="../embeddings/Microsoft_Excel_Worksheet1250.xlsx"/></Relationships>
</file>

<file path=ppt/charts/_rels/chart1258.xml.rels><?xml version='1.0' encoding='UTF-8' standalone='yes'?>
<Relationships xmlns="http://schemas.openxmlformats.org/package/2006/relationships"><Relationship Id="rId1" Type="http://schemas.openxmlformats.org/officeDocument/2006/relationships/themeOverride" Target="../theme/themeOverride1258.xml"/><Relationship Id="rId2" Type="http://schemas.openxmlformats.org/officeDocument/2006/relationships/package" Target="../embeddings/Microsoft_Excel_Worksheet1257.xlsx"/></Relationships>
</file>

<file path=ppt/charts/_rels/chart1259.xml.rels><?xml version='1.0' encoding='UTF-8' standalone='yes'?>
<Relationships xmlns="http://schemas.openxmlformats.org/package/2006/relationships"><Relationship Id="rId1" Type="http://schemas.openxmlformats.org/officeDocument/2006/relationships/themeOverride" Target="../theme/themeOverride1259.xml"/><Relationship Id="rId2" Type="http://schemas.openxmlformats.org/officeDocument/2006/relationships/package" Target="../embeddings/Microsoft_Excel_Worksheet1258.xlsx"/></Relationships>
</file>

<file path=ppt/charts/_rels/chart1260.xml.rels><?xml version='1.0' encoding='UTF-8' standalone='yes'?>
<Relationships xmlns="http://schemas.openxmlformats.org/package/2006/relationships"><Relationship Id="rId1" Type="http://schemas.openxmlformats.org/officeDocument/2006/relationships/themeOverride" Target="../theme/themeOverride1260.xml"/><Relationship Id="rId2" Type="http://schemas.openxmlformats.org/officeDocument/2006/relationships/package" Target="../embeddings/Microsoft_Excel_Worksheet1259.xlsx"/></Relationships>
</file>

<file path=ppt/charts/_rels/chart1261.xml.rels><?xml version='1.0' encoding='UTF-8' standalone='yes'?>
<Relationships xmlns="http://schemas.openxmlformats.org/package/2006/relationships"><Relationship Id="rId1" Type="http://schemas.openxmlformats.org/officeDocument/2006/relationships/themeOverride" Target="../theme/themeOverride1261.xml"/><Relationship Id="rId2" Type="http://schemas.openxmlformats.org/officeDocument/2006/relationships/package" Target="../embeddings/Microsoft_Excel_Worksheet1260.xlsx"/></Relationships>
</file>

<file path=ppt/charts/_rels/chart1262.xml.rels><?xml version='1.0' encoding='UTF-8' standalone='yes'?>
<Relationships xmlns="http://schemas.openxmlformats.org/package/2006/relationships"><Relationship Id="rId1" Type="http://schemas.openxmlformats.org/officeDocument/2006/relationships/themeOverride" Target="../theme/themeOverride1262.xml"/><Relationship Id="rId2" Type="http://schemas.openxmlformats.org/officeDocument/2006/relationships/package" Target="../embeddings/Microsoft_Excel_Worksheet1261.xlsx"/></Relationships>
</file>

<file path=ppt/charts/_rels/chart1276.xml.rels><?xml version='1.0' encoding='UTF-8' standalone='yes'?>
<Relationships xmlns="http://schemas.openxmlformats.org/package/2006/relationships"><Relationship Id="rId1" Type="http://schemas.openxmlformats.org/officeDocument/2006/relationships/themeOverride" Target="../theme/themeOverride1276.xml"/><Relationship Id="rId2" Type="http://schemas.openxmlformats.org/officeDocument/2006/relationships/package" Target="../embeddings/Microsoft_Excel_Worksheet1275.xlsx"/></Relationships>
</file>

<file path=ppt/charts/_rels/chart1277.xml.rels><?xml version='1.0' encoding='UTF-8' standalone='yes'?>
<Relationships xmlns="http://schemas.openxmlformats.org/package/2006/relationships"><Relationship Id="rId1" Type="http://schemas.openxmlformats.org/officeDocument/2006/relationships/themeOverride" Target="../theme/themeOverride1277.xml"/><Relationship Id="rId2" Type="http://schemas.openxmlformats.org/officeDocument/2006/relationships/package" Target="../embeddings/Microsoft_Excel_Worksheet1276.xlsx"/></Relationships>
</file>

<file path=ppt/charts/_rels/chart1278.xml.rels><?xml version='1.0' encoding='UTF-8' standalone='yes'?>
<Relationships xmlns="http://schemas.openxmlformats.org/package/2006/relationships"><Relationship Id="rId1" Type="http://schemas.openxmlformats.org/officeDocument/2006/relationships/themeOverride" Target="../theme/themeOverride1278.xml"/><Relationship Id="rId2" Type="http://schemas.openxmlformats.org/officeDocument/2006/relationships/package" Target="../embeddings/Microsoft_Excel_Worksheet1277.xlsx"/></Relationships>
</file>

<file path=ppt/charts/_rels/chart1279.xml.rels><?xml version='1.0' encoding='UTF-8' standalone='yes'?>
<Relationships xmlns="http://schemas.openxmlformats.org/package/2006/relationships"><Relationship Id="rId1" Type="http://schemas.openxmlformats.org/officeDocument/2006/relationships/themeOverride" Target="../theme/themeOverride1279.xml"/><Relationship Id="rId2" Type="http://schemas.openxmlformats.org/officeDocument/2006/relationships/package" Target="../embeddings/Microsoft_Excel_Worksheet1278.xlsx"/></Relationships>
</file>

<file path=ppt/charts/_rels/chart1286.xml.rels><?xml version='1.0' encoding='UTF-8' standalone='yes'?>
<Relationships xmlns="http://schemas.openxmlformats.org/package/2006/relationships"><Relationship Id="rId1" Type="http://schemas.openxmlformats.org/officeDocument/2006/relationships/themeOverride" Target="../theme/themeOverride1286.xml"/><Relationship Id="rId2" Type="http://schemas.openxmlformats.org/officeDocument/2006/relationships/package" Target="../embeddings/Microsoft_Excel_Worksheet1285.xlsx"/></Relationships>
</file>

<file path=ppt/charts/_rels/chart1287.xml.rels><?xml version='1.0' encoding='UTF-8' standalone='yes'?>
<Relationships xmlns="http://schemas.openxmlformats.org/package/2006/relationships"><Relationship Id="rId1" Type="http://schemas.openxmlformats.org/officeDocument/2006/relationships/themeOverride" Target="../theme/themeOverride1287.xml"/><Relationship Id="rId2" Type="http://schemas.openxmlformats.org/officeDocument/2006/relationships/package" Target="../embeddings/Microsoft_Excel_Worksheet1286.xlsx"/></Relationships>
</file>

<file path=ppt/charts/_rels/chart1288.xml.rels><?xml version='1.0' encoding='UTF-8' standalone='yes'?>
<Relationships xmlns="http://schemas.openxmlformats.org/package/2006/relationships"><Relationship Id="rId1" Type="http://schemas.openxmlformats.org/officeDocument/2006/relationships/themeOverride" Target="../theme/themeOverride1288.xml"/><Relationship Id="rId2" Type="http://schemas.openxmlformats.org/officeDocument/2006/relationships/package" Target="../embeddings/Microsoft_Excel_Worksheet1287.xlsx"/></Relationships>
</file>

<file path=ppt/charts/_rels/chart1291.xml.rels><?xml version='1.0' encoding='UTF-8' standalone='yes'?>
<Relationships xmlns="http://schemas.openxmlformats.org/package/2006/relationships"><Relationship Id="rId1" Type="http://schemas.openxmlformats.org/officeDocument/2006/relationships/themeOverride" Target="../theme/themeOverride1291.xml"/><Relationship Id="rId2" Type="http://schemas.openxmlformats.org/officeDocument/2006/relationships/package" Target="../embeddings/Microsoft_Excel_Worksheet1290.xlsx"/></Relationships>
</file>

<file path=ppt/charts/_rels/chart1292.xml.rels><?xml version='1.0' encoding='UTF-8' standalone='yes'?>
<Relationships xmlns="http://schemas.openxmlformats.org/package/2006/relationships"><Relationship Id="rId1" Type="http://schemas.openxmlformats.org/officeDocument/2006/relationships/themeOverride" Target="../theme/themeOverride1292.xml"/><Relationship Id="rId2" Type="http://schemas.openxmlformats.org/officeDocument/2006/relationships/package" Target="../embeddings/Microsoft_Excel_Worksheet1291.xlsx"/></Relationships>
</file>

<file path=ppt/charts/_rels/chart1293.xml.rels><?xml version='1.0' encoding='UTF-8' standalone='yes'?>
<Relationships xmlns="http://schemas.openxmlformats.org/package/2006/relationships"><Relationship Id="rId1" Type="http://schemas.openxmlformats.org/officeDocument/2006/relationships/themeOverride" Target="../theme/themeOverride1293.xml"/><Relationship Id="rId2" Type="http://schemas.openxmlformats.org/officeDocument/2006/relationships/package" Target="../embeddings/Microsoft_Excel_Worksheet1292.xlsx"/></Relationships>
</file>

<file path=ppt/charts/_rels/chart13.xml.rels><?xml version='1.0' encoding='UTF-8' standalone='yes'?>
<Relationships xmlns="http://schemas.openxmlformats.org/package/2006/relationships"><Relationship Id="rId1" Type="http://schemas.openxmlformats.org/officeDocument/2006/relationships/themeOverride" Target="../theme/themeOverride13.xml"/><Relationship Id="rId2" Type="http://schemas.openxmlformats.org/officeDocument/2006/relationships/package" Target="../embeddings/Microsoft_Excel_Worksheet12.xlsx"/></Relationships>
</file>

<file path=ppt/charts/_rels/chart1300.xml.rels><?xml version='1.0' encoding='UTF-8' standalone='yes'?>
<Relationships xmlns="http://schemas.openxmlformats.org/package/2006/relationships"><Relationship Id="rId1" Type="http://schemas.openxmlformats.org/officeDocument/2006/relationships/themeOverride" Target="../theme/themeOverride1300.xml"/><Relationship Id="rId2" Type="http://schemas.openxmlformats.org/officeDocument/2006/relationships/package" Target="../embeddings/Microsoft_Excel_Worksheet1299.xlsx"/></Relationships>
</file>

<file path=ppt/charts/_rels/chart1301.xml.rels><?xml version='1.0' encoding='UTF-8' standalone='yes'?>
<Relationships xmlns="http://schemas.openxmlformats.org/package/2006/relationships"><Relationship Id="rId1" Type="http://schemas.openxmlformats.org/officeDocument/2006/relationships/themeOverride" Target="../theme/themeOverride1301.xml"/><Relationship Id="rId2" Type="http://schemas.openxmlformats.org/officeDocument/2006/relationships/package" Target="../embeddings/Microsoft_Excel_Worksheet1300.xlsx"/></Relationships>
</file>

<file path=ppt/charts/_rels/chart1302.xml.rels><?xml version='1.0' encoding='UTF-8' standalone='yes'?>
<Relationships xmlns="http://schemas.openxmlformats.org/package/2006/relationships"><Relationship Id="rId1" Type="http://schemas.openxmlformats.org/officeDocument/2006/relationships/themeOverride" Target="../theme/themeOverride1302.xml"/><Relationship Id="rId2" Type="http://schemas.openxmlformats.org/officeDocument/2006/relationships/package" Target="../embeddings/Microsoft_Excel_Worksheet1301.xlsx"/></Relationships>
</file>

<file path=ppt/charts/_rels/chart1303.xml.rels><?xml version='1.0' encoding='UTF-8' standalone='yes'?>
<Relationships xmlns="http://schemas.openxmlformats.org/package/2006/relationships"><Relationship Id="rId1" Type="http://schemas.openxmlformats.org/officeDocument/2006/relationships/themeOverride" Target="../theme/themeOverride1303.xml"/><Relationship Id="rId2" Type="http://schemas.openxmlformats.org/officeDocument/2006/relationships/package" Target="../embeddings/Microsoft_Excel_Worksheet1302.xlsx"/></Relationships>
</file>

<file path=ppt/charts/_rels/chart1304.xml.rels><?xml version='1.0' encoding='UTF-8' standalone='yes'?>
<Relationships xmlns="http://schemas.openxmlformats.org/package/2006/relationships"><Relationship Id="rId1" Type="http://schemas.openxmlformats.org/officeDocument/2006/relationships/themeOverride" Target="../theme/themeOverride1304.xml"/><Relationship Id="rId2" Type="http://schemas.openxmlformats.org/officeDocument/2006/relationships/package" Target="../embeddings/Microsoft_Excel_Worksheet1303.xlsx"/></Relationships>
</file>

<file path=ppt/charts/_rels/chart131.xml.rels><?xml version='1.0' encoding='UTF-8' standalone='yes'?>
<Relationships xmlns="http://schemas.openxmlformats.org/package/2006/relationships"><Relationship Id="rId1" Type="http://schemas.openxmlformats.org/officeDocument/2006/relationships/themeOverride" Target="../theme/themeOverride131.xml"/><Relationship Id="rId2" Type="http://schemas.openxmlformats.org/officeDocument/2006/relationships/package" Target="../embeddings/Microsoft_Excel_Worksheet130.xlsx"/></Relationships>
</file>

<file path=ppt/charts/_rels/chart1313.xml.rels><?xml version='1.0' encoding='UTF-8' standalone='yes'?>
<Relationships xmlns="http://schemas.openxmlformats.org/package/2006/relationships"><Relationship Id="rId1" Type="http://schemas.openxmlformats.org/officeDocument/2006/relationships/themeOverride" Target="../theme/themeOverride1313.xml"/><Relationship Id="rId2" Type="http://schemas.openxmlformats.org/officeDocument/2006/relationships/package" Target="../embeddings/Microsoft_Excel_Worksheet1312.xlsx"/></Relationships>
</file>

<file path=ppt/charts/_rels/chart1314.xml.rels><?xml version='1.0' encoding='UTF-8' standalone='yes'?>
<Relationships xmlns="http://schemas.openxmlformats.org/package/2006/relationships"><Relationship Id="rId1" Type="http://schemas.openxmlformats.org/officeDocument/2006/relationships/themeOverride" Target="../theme/themeOverride1314.xml"/><Relationship Id="rId2" Type="http://schemas.openxmlformats.org/officeDocument/2006/relationships/package" Target="../embeddings/Microsoft_Excel_Worksheet1313.xlsx"/></Relationships>
</file>

<file path=ppt/charts/_rels/chart1318.xml.rels><?xml version='1.0' encoding='UTF-8' standalone='yes'?>
<Relationships xmlns="http://schemas.openxmlformats.org/package/2006/relationships"><Relationship Id="rId1" Type="http://schemas.openxmlformats.org/officeDocument/2006/relationships/themeOverride" Target="../theme/themeOverride1318.xml"/><Relationship Id="rId2" Type="http://schemas.openxmlformats.org/officeDocument/2006/relationships/package" Target="../embeddings/Microsoft_Excel_Worksheet1317.xlsx"/></Relationships>
</file>

<file path=ppt/charts/_rels/chart1319.xml.rels><?xml version='1.0' encoding='UTF-8' standalone='yes'?>
<Relationships xmlns="http://schemas.openxmlformats.org/package/2006/relationships"><Relationship Id="rId1" Type="http://schemas.openxmlformats.org/officeDocument/2006/relationships/themeOverride" Target="../theme/themeOverride1319.xml"/><Relationship Id="rId2" Type="http://schemas.openxmlformats.org/officeDocument/2006/relationships/package" Target="../embeddings/Microsoft_Excel_Worksheet1318.xlsx"/></Relationships>
</file>

<file path=ppt/charts/_rels/chart132.xml.rels><?xml version='1.0' encoding='UTF-8' standalone='yes'?>
<Relationships xmlns="http://schemas.openxmlformats.org/package/2006/relationships"><Relationship Id="rId1" Type="http://schemas.openxmlformats.org/officeDocument/2006/relationships/themeOverride" Target="../theme/themeOverride132.xml"/><Relationship Id="rId2" Type="http://schemas.openxmlformats.org/officeDocument/2006/relationships/package" Target="../embeddings/Microsoft_Excel_Worksheet131.xlsx"/></Relationships>
</file>

<file path=ppt/charts/_rels/chart1327.xml.rels><?xml version='1.0' encoding='UTF-8' standalone='yes'?>
<Relationships xmlns="http://schemas.openxmlformats.org/package/2006/relationships"><Relationship Id="rId1" Type="http://schemas.openxmlformats.org/officeDocument/2006/relationships/themeOverride" Target="../theme/themeOverride1327.xml"/><Relationship Id="rId2"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themeOverride" Target="../theme/themeOverride1328.xml"/><Relationship Id="rId2" Type="http://schemas.openxmlformats.org/officeDocument/2006/relationships/package" Target="../embeddings/Microsoft_Excel_Worksheet1327.xlsx"/></Relationships>
</file>

<file path=ppt/charts/_rels/chart1329.xml.rels><?xml version='1.0' encoding='UTF-8' standalone='yes'?>
<Relationships xmlns="http://schemas.openxmlformats.org/package/2006/relationships"><Relationship Id="rId1" Type="http://schemas.openxmlformats.org/officeDocument/2006/relationships/themeOverride" Target="../theme/themeOverride1329.xml"/><Relationship Id="rId2" Type="http://schemas.openxmlformats.org/officeDocument/2006/relationships/package" Target="../embeddings/Microsoft_Excel_Worksheet1328.xlsx"/></Relationships>
</file>

<file path=ppt/charts/_rels/chart133.xml.rels><?xml version='1.0' encoding='UTF-8' standalone='yes'?>
<Relationships xmlns="http://schemas.openxmlformats.org/package/2006/relationships"><Relationship Id="rId1" Type="http://schemas.openxmlformats.org/officeDocument/2006/relationships/themeOverride" Target="../theme/themeOverride133.xml"/><Relationship Id="rId2" Type="http://schemas.openxmlformats.org/officeDocument/2006/relationships/package" Target="../embeddings/Microsoft_Excel_Worksheet132.xlsx"/></Relationships>
</file>

<file path=ppt/charts/_rels/chart1330.xml.rels><?xml version='1.0' encoding='UTF-8' standalone='yes'?>
<Relationships xmlns="http://schemas.openxmlformats.org/package/2006/relationships"><Relationship Id="rId1" Type="http://schemas.openxmlformats.org/officeDocument/2006/relationships/themeOverride" Target="../theme/themeOverride1330.xml"/><Relationship Id="rId2" Type="http://schemas.openxmlformats.org/officeDocument/2006/relationships/package" Target="../embeddings/Microsoft_Excel_Worksheet1329.xlsx"/></Relationships>
</file>

<file path=ppt/charts/_rels/chart134.xml.rels><?xml version='1.0' encoding='UTF-8' standalone='yes'?>
<Relationships xmlns="http://schemas.openxmlformats.org/package/2006/relationships"><Relationship Id="rId1" Type="http://schemas.openxmlformats.org/officeDocument/2006/relationships/themeOverride" Target="../theme/themeOverride134.xml"/><Relationship Id="rId2" Type="http://schemas.openxmlformats.org/officeDocument/2006/relationships/package" Target="../embeddings/Microsoft_Excel_Worksheet133.xlsx"/></Relationships>
</file>

<file path=ppt/charts/_rels/chart1344.xml.rels><?xml version='1.0' encoding='UTF-8' standalone='yes'?>
<Relationships xmlns="http://schemas.openxmlformats.org/package/2006/relationships"><Relationship Id="rId1" Type="http://schemas.openxmlformats.org/officeDocument/2006/relationships/themeOverride" Target="../theme/themeOverride1344.xml"/><Relationship Id="rId2" Type="http://schemas.openxmlformats.org/officeDocument/2006/relationships/package" Target="../embeddings/Microsoft_Excel_Worksheet1343.xlsx"/></Relationships>
</file>

<file path=ppt/charts/_rels/chart1345.xml.rels><?xml version='1.0' encoding='UTF-8' standalone='yes'?>
<Relationships xmlns="http://schemas.openxmlformats.org/package/2006/relationships"><Relationship Id="rId1" Type="http://schemas.openxmlformats.org/officeDocument/2006/relationships/themeOverride" Target="../theme/themeOverride1345.xml"/><Relationship Id="rId2" Type="http://schemas.openxmlformats.org/officeDocument/2006/relationships/package" Target="../embeddings/Microsoft_Excel_Worksheet1344.xlsx"/></Relationships>
</file>

<file path=ppt/charts/_rels/chart1346.xml.rels><?xml version='1.0' encoding='UTF-8' standalone='yes'?>
<Relationships xmlns="http://schemas.openxmlformats.org/package/2006/relationships"><Relationship Id="rId1" Type="http://schemas.openxmlformats.org/officeDocument/2006/relationships/themeOverride" Target="../theme/themeOverride1346.xml"/><Relationship Id="rId2" Type="http://schemas.openxmlformats.org/officeDocument/2006/relationships/package" Target="../embeddings/Microsoft_Excel_Worksheet1345.xlsx"/></Relationships>
</file>

<file path=ppt/charts/_rels/chart135.xml.rels><?xml version='1.0' encoding='UTF-8' standalone='yes'?>
<Relationships xmlns="http://schemas.openxmlformats.org/package/2006/relationships"><Relationship Id="rId1" Type="http://schemas.openxmlformats.org/officeDocument/2006/relationships/themeOverride" Target="../theme/themeOverride135.xml"/><Relationship Id="rId2" Type="http://schemas.openxmlformats.org/officeDocument/2006/relationships/package" Target="../embeddings/Microsoft_Excel_Worksheet134.xlsx"/></Relationships>
</file>

<file path=ppt/charts/_rels/chart1354.xml.rels><?xml version='1.0' encoding='UTF-8' standalone='yes'?>
<Relationships xmlns="http://schemas.openxmlformats.org/package/2006/relationships"><Relationship Id="rId1" Type="http://schemas.openxmlformats.org/officeDocument/2006/relationships/themeOverride" Target="../theme/themeOverride1354.xml"/><Relationship Id="rId2"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themeOverride" Target="../theme/themeOverride1355.xml"/><Relationship Id="rId2"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themeOverride" Target="../theme/themeOverride1356.xml"/><Relationship Id="rId2" Type="http://schemas.openxmlformats.org/officeDocument/2006/relationships/package" Target="../embeddings/Microsoft_Excel_Worksheet1355.xlsx"/></Relationships>
</file>

<file path=ppt/charts/_rels/chart1357.xml.rels><?xml version='1.0' encoding='UTF-8' standalone='yes'?>
<Relationships xmlns="http://schemas.openxmlformats.org/package/2006/relationships"><Relationship Id="rId1" Type="http://schemas.openxmlformats.org/officeDocument/2006/relationships/themeOverride" Target="../theme/themeOverride1357.xml"/><Relationship Id="rId2" Type="http://schemas.openxmlformats.org/officeDocument/2006/relationships/package" Target="../embeddings/Microsoft_Excel_Worksheet1356.xlsx"/></Relationships>
</file>

<file path=ppt/charts/_rels/chart1358.xml.rels><?xml version='1.0' encoding='UTF-8' standalone='yes'?>
<Relationships xmlns="http://schemas.openxmlformats.org/package/2006/relationships"><Relationship Id="rId1" Type="http://schemas.openxmlformats.org/officeDocument/2006/relationships/themeOverride" Target="../theme/themeOverride1358.xml"/><Relationship Id="rId2" Type="http://schemas.openxmlformats.org/officeDocument/2006/relationships/package" Target="../embeddings/Microsoft_Excel_Worksheet1357.xlsx"/></Relationships>
</file>

<file path=ppt/charts/_rels/chart1359.xml.rels><?xml version='1.0' encoding='UTF-8' standalone='yes'?>
<Relationships xmlns="http://schemas.openxmlformats.org/package/2006/relationships"><Relationship Id="rId1" Type="http://schemas.openxmlformats.org/officeDocument/2006/relationships/themeOverride" Target="../theme/themeOverride1359.xml"/><Relationship Id="rId2" Type="http://schemas.openxmlformats.org/officeDocument/2006/relationships/package" Target="../embeddings/Microsoft_Excel_Worksheet1358.xlsx"/></Relationships>
</file>

<file path=ppt/charts/_rels/chart136.xml.rels><?xml version='1.0' encoding='UTF-8' standalone='yes'?>
<Relationships xmlns="http://schemas.openxmlformats.org/package/2006/relationships"><Relationship Id="rId1" Type="http://schemas.openxmlformats.org/officeDocument/2006/relationships/themeOverride" Target="../theme/themeOverride136.xml"/><Relationship Id="rId2"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themeOverride" Target="../theme/themeOverride137.xml"/><Relationship Id="rId2" Type="http://schemas.openxmlformats.org/officeDocument/2006/relationships/package" Target="../embeddings/Microsoft_Excel_Worksheet136.xlsx"/></Relationships>
</file>

<file path=ppt/charts/_rels/chart1373.xml.rels><?xml version='1.0' encoding='UTF-8' standalone='yes'?>
<Relationships xmlns="http://schemas.openxmlformats.org/package/2006/relationships"><Relationship Id="rId1" Type="http://schemas.openxmlformats.org/officeDocument/2006/relationships/themeOverride" Target="../theme/themeOverride1373.xml"/><Relationship Id="rId2" Type="http://schemas.openxmlformats.org/officeDocument/2006/relationships/package" Target="../embeddings/Microsoft_Excel_Worksheet1372.xlsx"/></Relationships>
</file>

<file path=ppt/charts/_rels/chart1374.xml.rels><?xml version='1.0' encoding='UTF-8' standalone='yes'?>
<Relationships xmlns="http://schemas.openxmlformats.org/package/2006/relationships"><Relationship Id="rId1" Type="http://schemas.openxmlformats.org/officeDocument/2006/relationships/themeOverride" Target="../theme/themeOverride1374.xml"/><Relationship Id="rId2" Type="http://schemas.openxmlformats.org/officeDocument/2006/relationships/package" Target="../embeddings/Microsoft_Excel_Worksheet1373.xlsx"/></Relationships>
</file>

<file path=ppt/charts/_rels/chart1375.xml.rels><?xml version='1.0' encoding='UTF-8' standalone='yes'?>
<Relationships xmlns="http://schemas.openxmlformats.org/package/2006/relationships"><Relationship Id="rId1" Type="http://schemas.openxmlformats.org/officeDocument/2006/relationships/themeOverride" Target="../theme/themeOverride1375.xml"/><Relationship Id="rId2" Type="http://schemas.openxmlformats.org/officeDocument/2006/relationships/package" Target="../embeddings/Microsoft_Excel_Worksheet1374.xlsx"/></Relationships>
</file>

<file path=ppt/charts/_rels/chart138.xml.rels><?xml version='1.0' encoding='UTF-8' standalone='yes'?>
<Relationships xmlns="http://schemas.openxmlformats.org/package/2006/relationships"><Relationship Id="rId1" Type="http://schemas.openxmlformats.org/officeDocument/2006/relationships/themeOverride" Target="../theme/themeOverride138.xml"/><Relationship Id="rId2" Type="http://schemas.openxmlformats.org/officeDocument/2006/relationships/package" Target="../embeddings/Microsoft_Excel_Worksheet137.xlsx"/></Relationships>
</file>

<file path=ppt/charts/_rels/chart1383.xml.rels><?xml version='1.0' encoding='UTF-8' standalone='yes'?>
<Relationships xmlns="http://schemas.openxmlformats.org/package/2006/relationships"><Relationship Id="rId1" Type="http://schemas.openxmlformats.org/officeDocument/2006/relationships/themeOverride" Target="../theme/themeOverride1383.xml"/><Relationship Id="rId2"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themeOverride" Target="../theme/themeOverride1384.xml"/><Relationship Id="rId2"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themeOverride" Target="../theme/themeOverride1385.xml"/><Relationship Id="rId2"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themeOverride" Target="../theme/themeOverride1386.xml"/><Relationship Id="rId2" Type="http://schemas.openxmlformats.org/officeDocument/2006/relationships/package" Target="../embeddings/Microsoft_Excel_Worksheet1385.xlsx"/></Relationships>
</file>

<file path=ppt/charts/_rels/chart1387.xml.rels><?xml version='1.0' encoding='UTF-8' standalone='yes'?>
<Relationships xmlns="http://schemas.openxmlformats.org/package/2006/relationships"><Relationship Id="rId1" Type="http://schemas.openxmlformats.org/officeDocument/2006/relationships/themeOverride" Target="../theme/themeOverride1387.xml"/><Relationship Id="rId2" Type="http://schemas.openxmlformats.org/officeDocument/2006/relationships/package" Target="../embeddings/Microsoft_Excel_Worksheet1386.xlsx"/></Relationships>
</file>

<file path=ppt/charts/_rels/chart1388.xml.rels><?xml version='1.0' encoding='UTF-8' standalone='yes'?>
<Relationships xmlns="http://schemas.openxmlformats.org/package/2006/relationships"><Relationship Id="rId1" Type="http://schemas.openxmlformats.org/officeDocument/2006/relationships/themeOverride" Target="../theme/themeOverride1388.xml"/><Relationship Id="rId2" Type="http://schemas.openxmlformats.org/officeDocument/2006/relationships/package" Target="../embeddings/Microsoft_Excel_Worksheet1387.xlsx"/></Relationships>
</file>

<file path=ppt/charts/_rels/chart139.xml.rels><?xml version='1.0' encoding='UTF-8' standalone='yes'?>
<Relationships xmlns="http://schemas.openxmlformats.org/package/2006/relationships"><Relationship Id="rId1" Type="http://schemas.openxmlformats.org/officeDocument/2006/relationships/themeOverride" Target="../theme/themeOverride139.xml"/><Relationship Id="rId2" Type="http://schemas.openxmlformats.org/officeDocument/2006/relationships/package" Target="../embeddings/Microsoft_Excel_Worksheet138.xlsx"/></Relationships>
</file>

<file path=ppt/charts/_rels/chart1390.xml.rels><?xml version='1.0' encoding='UTF-8' standalone='yes'?>
<Relationships xmlns="http://schemas.openxmlformats.org/package/2006/relationships"><Relationship Id="rId1" Type="http://schemas.openxmlformats.org/officeDocument/2006/relationships/themeOverride" Target="../theme/themeOverride1390.xml"/><Relationship Id="rId2" Type="http://schemas.openxmlformats.org/officeDocument/2006/relationships/package" Target="../embeddings/Microsoft_Excel_Worksheet1389.xlsx"/></Relationships>
</file>

<file path=ppt/charts/_rels/chart1391.xml.rels><?xml version='1.0' encoding='UTF-8' standalone='yes'?>
<Relationships xmlns="http://schemas.openxmlformats.org/package/2006/relationships"><Relationship Id="rId1" Type="http://schemas.openxmlformats.org/officeDocument/2006/relationships/themeOverride" Target="../theme/themeOverride1391.xml"/><Relationship Id="rId2" Type="http://schemas.openxmlformats.org/officeDocument/2006/relationships/package" Target="../embeddings/Microsoft_Excel_Worksheet1390.xlsx"/></Relationships>
</file>

<file path=ppt/charts/_rels/chart1392.xml.rels><?xml version='1.0' encoding='UTF-8' standalone='yes'?>
<Relationships xmlns="http://schemas.openxmlformats.org/package/2006/relationships"><Relationship Id="rId1" Type="http://schemas.openxmlformats.org/officeDocument/2006/relationships/themeOverride" Target="../theme/themeOverride1392.xml"/><Relationship Id="rId2" Type="http://schemas.openxmlformats.org/officeDocument/2006/relationships/package" Target="../embeddings/Microsoft_Excel_Worksheet1391.xlsx"/></Relationships>
</file>

<file path=ppt/charts/_rels/chart14.xml.rels><?xml version='1.0' encoding='UTF-8' standalone='yes'?>
<Relationships xmlns="http://schemas.openxmlformats.org/package/2006/relationships"><Relationship Id="rId1" Type="http://schemas.openxmlformats.org/officeDocument/2006/relationships/themeOverride" Target="../theme/themeOverride14.xml"/><Relationship Id="rId2"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themeOverride" Target="../theme/themeOverride140.xml"/><Relationship Id="rId2" Type="http://schemas.openxmlformats.org/officeDocument/2006/relationships/package" Target="../embeddings/Microsoft_Excel_Worksheet139.xlsx"/></Relationships>
</file>

<file path=ppt/charts/_rels/chart1400.xml.rels><?xml version='1.0' encoding='UTF-8' standalone='yes'?>
<Relationships xmlns="http://schemas.openxmlformats.org/package/2006/relationships"><Relationship Id="rId1" Type="http://schemas.openxmlformats.org/officeDocument/2006/relationships/themeOverride" Target="../theme/themeOverride1400.xml"/><Relationship Id="rId2" Type="http://schemas.openxmlformats.org/officeDocument/2006/relationships/package" Target="../embeddings/Microsoft_Excel_Worksheet1399.xlsx"/></Relationships>
</file>

<file path=ppt/charts/_rels/chart1401.xml.rels><?xml version='1.0' encoding='UTF-8' standalone='yes'?>
<Relationships xmlns="http://schemas.openxmlformats.org/package/2006/relationships"><Relationship Id="rId1" Type="http://schemas.openxmlformats.org/officeDocument/2006/relationships/themeOverride" Target="../theme/themeOverride1401.xml"/><Relationship Id="rId2"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openxmlformats.org/officeDocument/2006/relationships/themeOverride" Target="../theme/themeOverride1402.xml"/><Relationship Id="rId2" Type="http://schemas.openxmlformats.org/officeDocument/2006/relationships/package" Target="../embeddings/Microsoft_Excel_Worksheet1401.xlsx"/></Relationships>
</file>

<file path=ppt/charts/_rels/chart1410.xml.rels><?xml version='1.0' encoding='UTF-8' standalone='yes'?>
<Relationships xmlns="http://schemas.openxmlformats.org/package/2006/relationships"><Relationship Id="rId1" Type="http://schemas.openxmlformats.org/officeDocument/2006/relationships/themeOverride" Target="../theme/themeOverride1410.xml"/><Relationship Id="rId2" Type="http://schemas.openxmlformats.org/officeDocument/2006/relationships/package" Target="../embeddings/Microsoft_Excel_Worksheet1409.xlsx"/></Relationships>
</file>

<file path=ppt/charts/_rels/chart1411.xml.rels><?xml version='1.0' encoding='UTF-8' standalone='yes'?>
<Relationships xmlns="http://schemas.openxmlformats.org/package/2006/relationships"><Relationship Id="rId1" Type="http://schemas.openxmlformats.org/officeDocument/2006/relationships/themeOverride" Target="../theme/themeOverride1411.xml"/><Relationship Id="rId2" Type="http://schemas.openxmlformats.org/officeDocument/2006/relationships/package" Target="../embeddings/Microsoft_Excel_Worksheet1410.xlsx"/></Relationships>
</file>

<file path=ppt/charts/_rels/chart1412.xml.rels><?xml version='1.0' encoding='UTF-8' standalone='yes'?>
<Relationships xmlns="http://schemas.openxmlformats.org/package/2006/relationships"><Relationship Id="rId1" Type="http://schemas.openxmlformats.org/officeDocument/2006/relationships/themeOverride" Target="../theme/themeOverride1412.xml"/><Relationship Id="rId2" Type="http://schemas.openxmlformats.org/officeDocument/2006/relationships/package" Target="../embeddings/Microsoft_Excel_Worksheet1411.xlsx"/></Relationships>
</file>

<file path=ppt/charts/_rels/chart1413.xml.rels><?xml version='1.0' encoding='UTF-8' standalone='yes'?>
<Relationships xmlns="http://schemas.openxmlformats.org/package/2006/relationships"><Relationship Id="rId1" Type="http://schemas.openxmlformats.org/officeDocument/2006/relationships/themeOverride" Target="../theme/themeOverride1413.xml"/><Relationship Id="rId2" Type="http://schemas.openxmlformats.org/officeDocument/2006/relationships/package" Target="../embeddings/Microsoft_Excel_Worksheet1412.xlsx"/></Relationships>
</file>

<file path=ppt/charts/_rels/chart1414.xml.rels><?xml version='1.0' encoding='UTF-8' standalone='yes'?>
<Relationships xmlns="http://schemas.openxmlformats.org/package/2006/relationships"><Relationship Id="rId1" Type="http://schemas.openxmlformats.org/officeDocument/2006/relationships/themeOverride" Target="../theme/themeOverride1414.xml"/><Relationship Id="rId2" Type="http://schemas.openxmlformats.org/officeDocument/2006/relationships/package" Target="../embeddings/Microsoft_Excel_Worksheet1413.xlsx"/></Relationships>
</file>

<file path=ppt/charts/_rels/chart1415.xml.rels><?xml version='1.0' encoding='UTF-8' standalone='yes'?>
<Relationships xmlns="http://schemas.openxmlformats.org/package/2006/relationships"><Relationship Id="rId1" Type="http://schemas.openxmlformats.org/officeDocument/2006/relationships/themeOverride" Target="../theme/themeOverride1415.xml"/><Relationship Id="rId2" Type="http://schemas.openxmlformats.org/officeDocument/2006/relationships/package" Target="../embeddings/Microsoft_Excel_Worksheet1414.xlsx"/></Relationships>
</file>

<file path=ppt/charts/_rels/chart1417.xml.rels><?xml version='1.0' encoding='UTF-8' standalone='yes'?>
<Relationships xmlns="http://schemas.openxmlformats.org/package/2006/relationships"><Relationship Id="rId1" Type="http://schemas.openxmlformats.org/officeDocument/2006/relationships/themeOverride" Target="../theme/themeOverride1417.xml"/><Relationship Id="rId2"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themeOverride" Target="../theme/themeOverride1418.xml"/><Relationship Id="rId2" Type="http://schemas.openxmlformats.org/officeDocument/2006/relationships/package" Target="../embeddings/Microsoft_Excel_Worksheet1417.xlsx"/></Relationships>
</file>

<file path=ppt/charts/_rels/chart1419.xml.rels><?xml version='1.0' encoding='UTF-8' standalone='yes'?>
<Relationships xmlns="http://schemas.openxmlformats.org/package/2006/relationships"><Relationship Id="rId1" Type="http://schemas.openxmlformats.org/officeDocument/2006/relationships/themeOverride" Target="../theme/themeOverride1419.xml"/><Relationship Id="rId2" Type="http://schemas.openxmlformats.org/officeDocument/2006/relationships/package" Target="../embeddings/Microsoft_Excel_Worksheet1418.xlsx"/></Relationships>
</file>

<file path=ppt/charts/_rels/chart1429.xml.rels><?xml version='1.0' encoding='UTF-8' standalone='yes'?>
<Relationships xmlns="http://schemas.openxmlformats.org/package/2006/relationships"><Relationship Id="rId1" Type="http://schemas.openxmlformats.org/officeDocument/2006/relationships/themeOverride" Target="../theme/themeOverride1429.xml"/><Relationship Id="rId2" Type="http://schemas.openxmlformats.org/officeDocument/2006/relationships/package" Target="../embeddings/Microsoft_Excel_Worksheet1428.xlsx"/></Relationships>
</file>

<file path=ppt/charts/_rels/chart1430.xml.rels><?xml version='1.0' encoding='UTF-8' standalone='yes'?>
<Relationships xmlns="http://schemas.openxmlformats.org/package/2006/relationships"><Relationship Id="rId1" Type="http://schemas.openxmlformats.org/officeDocument/2006/relationships/themeOverride" Target="../theme/themeOverride1430.xml"/><Relationship Id="rId2" Type="http://schemas.openxmlformats.org/officeDocument/2006/relationships/package" Target="../embeddings/Microsoft_Excel_Worksheet1429.xlsx"/></Relationships>
</file>

<file path=ppt/charts/_rels/chart1431.xml.rels><?xml version='1.0' encoding='UTF-8' standalone='yes'?>
<Relationships xmlns="http://schemas.openxmlformats.org/package/2006/relationships"><Relationship Id="rId1" Type="http://schemas.openxmlformats.org/officeDocument/2006/relationships/themeOverride" Target="../theme/themeOverride1431.xml"/><Relationship Id="rId2" Type="http://schemas.openxmlformats.org/officeDocument/2006/relationships/package" Target="../embeddings/Microsoft_Excel_Worksheet1430.xlsx"/></Relationships>
</file>

<file path=ppt/charts/_rels/chart1439.xml.rels><?xml version='1.0' encoding='UTF-8' standalone='yes'?>
<Relationships xmlns="http://schemas.openxmlformats.org/package/2006/relationships"><Relationship Id="rId1" Type="http://schemas.openxmlformats.org/officeDocument/2006/relationships/themeOverride" Target="../theme/themeOverride1439.xml"/><Relationship Id="rId2" Type="http://schemas.openxmlformats.org/officeDocument/2006/relationships/package" Target="../embeddings/Microsoft_Excel_Worksheet1438.xlsx"/></Relationships>
</file>

<file path=ppt/charts/_rels/chart1440.xml.rels><?xml version='1.0' encoding='UTF-8' standalone='yes'?>
<Relationships xmlns="http://schemas.openxmlformats.org/package/2006/relationships"><Relationship Id="rId1" Type="http://schemas.openxmlformats.org/officeDocument/2006/relationships/themeOverride" Target="../theme/themeOverride1440.xml"/><Relationship Id="rId2" Type="http://schemas.openxmlformats.org/officeDocument/2006/relationships/package" Target="../embeddings/Microsoft_Excel_Worksheet1439.xlsx"/></Relationships>
</file>

<file path=ppt/charts/_rels/chart1441.xml.rels><?xml version='1.0' encoding='UTF-8' standalone='yes'?>
<Relationships xmlns="http://schemas.openxmlformats.org/package/2006/relationships"><Relationship Id="rId1" Type="http://schemas.openxmlformats.org/officeDocument/2006/relationships/themeOverride" Target="../theme/themeOverride1441.xml"/><Relationship Id="rId2" Type="http://schemas.openxmlformats.org/officeDocument/2006/relationships/package" Target="../embeddings/Microsoft_Excel_Worksheet1440.xlsx"/></Relationships>
</file>

<file path=ppt/charts/_rels/chart1448.xml.rels><?xml version='1.0' encoding='UTF-8' standalone='yes'?>
<Relationships xmlns="http://schemas.openxmlformats.org/package/2006/relationships"><Relationship Id="rId1" Type="http://schemas.openxmlformats.org/officeDocument/2006/relationships/themeOverride" Target="../theme/themeOverride1448.xml"/><Relationship Id="rId2" Type="http://schemas.openxmlformats.org/officeDocument/2006/relationships/package" Target="../embeddings/Microsoft_Excel_Worksheet1447.xlsx"/></Relationships>
</file>

<file path=ppt/charts/_rels/chart1456.xml.rels><?xml version='1.0' encoding='UTF-8' standalone='yes'?>
<Relationships xmlns="http://schemas.openxmlformats.org/package/2006/relationships"><Relationship Id="rId1" Type="http://schemas.openxmlformats.org/officeDocument/2006/relationships/themeOverride" Target="../theme/themeOverride1456.xml"/><Relationship Id="rId2" Type="http://schemas.openxmlformats.org/officeDocument/2006/relationships/package" Target="../embeddings/Microsoft_Excel_Worksheet1455.xlsx"/></Relationships>
</file>

<file path=ppt/charts/_rels/chart1457.xml.rels><?xml version='1.0' encoding='UTF-8' standalone='yes'?>
<Relationships xmlns="http://schemas.openxmlformats.org/package/2006/relationships"><Relationship Id="rId1" Type="http://schemas.openxmlformats.org/officeDocument/2006/relationships/themeOverride" Target="../theme/themeOverride1457.xml"/><Relationship Id="rId2" Type="http://schemas.openxmlformats.org/officeDocument/2006/relationships/package" Target="../embeddings/Microsoft_Excel_Worksheet1456.xlsx"/></Relationships>
</file>

<file path=ppt/charts/_rels/chart1458.xml.rels><?xml version='1.0' encoding='UTF-8' standalone='yes'?>
<Relationships xmlns="http://schemas.openxmlformats.org/package/2006/relationships"><Relationship Id="rId1" Type="http://schemas.openxmlformats.org/officeDocument/2006/relationships/themeOverride" Target="../theme/themeOverride1458.xml"/><Relationship Id="rId2" Type="http://schemas.openxmlformats.org/officeDocument/2006/relationships/package" Target="../embeddings/Microsoft_Excel_Worksheet1457.xlsx"/></Relationships>
</file>

<file path=ppt/charts/_rels/chart1467.xml.rels><?xml version='1.0' encoding='UTF-8' standalone='yes'?>
<Relationships xmlns="http://schemas.openxmlformats.org/package/2006/relationships"><Relationship Id="rId1" Type="http://schemas.openxmlformats.org/officeDocument/2006/relationships/themeOverride" Target="../theme/themeOverride1467.xml"/><Relationship Id="rId2" Type="http://schemas.openxmlformats.org/officeDocument/2006/relationships/package" Target="../embeddings/Microsoft_Excel_Worksheet1466.xlsx"/></Relationships>
</file>

<file path=ppt/charts/_rels/chart1468.xml.rels><?xml version='1.0' encoding='UTF-8' standalone='yes'?>
<Relationships xmlns="http://schemas.openxmlformats.org/package/2006/relationships"><Relationship Id="rId1" Type="http://schemas.openxmlformats.org/officeDocument/2006/relationships/themeOverride" Target="../theme/themeOverride1468.xml"/><Relationship Id="rId2" Type="http://schemas.openxmlformats.org/officeDocument/2006/relationships/package" Target="../embeddings/Microsoft_Excel_Worksheet1467.xlsx"/></Relationships>
</file>

<file path=ppt/charts/_rels/chart1469.xml.rels><?xml version='1.0' encoding='UTF-8' standalone='yes'?>
<Relationships xmlns="http://schemas.openxmlformats.org/package/2006/relationships"><Relationship Id="rId1" Type="http://schemas.openxmlformats.org/officeDocument/2006/relationships/themeOverride" Target="../theme/themeOverride1469.xml"/><Relationship Id="rId2" Type="http://schemas.openxmlformats.org/officeDocument/2006/relationships/package" Target="../embeddings/Microsoft_Excel_Worksheet1468.xlsx"/></Relationships>
</file>

<file path=ppt/charts/_rels/chart1470.xml.rels><?xml version='1.0' encoding='UTF-8' standalone='yes'?>
<Relationships xmlns="http://schemas.openxmlformats.org/package/2006/relationships"><Relationship Id="rId1" Type="http://schemas.openxmlformats.org/officeDocument/2006/relationships/themeOverride" Target="../theme/themeOverride1470.xml"/><Relationship Id="rId2" Type="http://schemas.openxmlformats.org/officeDocument/2006/relationships/package" Target="../embeddings/Microsoft_Excel_Worksheet1469.xlsx"/></Relationships>
</file>

<file path=ppt/charts/_rels/chart1476.xml.rels><?xml version='1.0' encoding='UTF-8' standalone='yes'?>
<Relationships xmlns="http://schemas.openxmlformats.org/package/2006/relationships"><Relationship Id="rId1" Type="http://schemas.openxmlformats.org/officeDocument/2006/relationships/themeOverride" Target="../theme/themeOverride1476.xml"/><Relationship Id="rId2" Type="http://schemas.openxmlformats.org/officeDocument/2006/relationships/package" Target="../embeddings/Microsoft_Excel_Worksheet1475.xlsx"/></Relationships>
</file>

<file path=ppt/charts/_rels/chart1477.xml.rels><?xml version='1.0' encoding='UTF-8' standalone='yes'?>
<Relationships xmlns="http://schemas.openxmlformats.org/package/2006/relationships"><Relationship Id="rId1" Type="http://schemas.openxmlformats.org/officeDocument/2006/relationships/themeOverride" Target="../theme/themeOverride1477.xml"/><Relationship Id="rId2" Type="http://schemas.openxmlformats.org/officeDocument/2006/relationships/package" Target="../embeddings/Microsoft_Excel_Worksheet1476.xlsx"/></Relationships>
</file>

<file path=ppt/charts/_rels/chart1478.xml.rels><?xml version='1.0' encoding='UTF-8' standalone='yes'?>
<Relationships xmlns="http://schemas.openxmlformats.org/package/2006/relationships"><Relationship Id="rId1" Type="http://schemas.openxmlformats.org/officeDocument/2006/relationships/themeOverride" Target="../theme/themeOverride1478.xml"/><Relationship Id="rId2" Type="http://schemas.openxmlformats.org/officeDocument/2006/relationships/package" Target="../embeddings/Microsoft_Excel_Worksheet1477.xlsx"/></Relationships>
</file>

<file path=ppt/charts/_rels/chart1488.xml.rels><?xml version='1.0' encoding='UTF-8' standalone='yes'?>
<Relationships xmlns="http://schemas.openxmlformats.org/package/2006/relationships"><Relationship Id="rId1" Type="http://schemas.openxmlformats.org/officeDocument/2006/relationships/themeOverride" Target="../theme/themeOverride1488.xml"/><Relationship Id="rId2" Type="http://schemas.openxmlformats.org/officeDocument/2006/relationships/package" Target="../embeddings/Microsoft_Excel_Worksheet1487.xlsx"/></Relationships>
</file>

<file path=ppt/charts/_rels/chart1489.xml.rels><?xml version='1.0' encoding='UTF-8' standalone='yes'?>
<Relationships xmlns="http://schemas.openxmlformats.org/package/2006/relationships"><Relationship Id="rId1" Type="http://schemas.openxmlformats.org/officeDocument/2006/relationships/themeOverride" Target="../theme/themeOverride1489.xml"/><Relationship Id="rId2" Type="http://schemas.openxmlformats.org/officeDocument/2006/relationships/package" Target="../embeddings/Microsoft_Excel_Worksheet1488.xlsx"/></Relationships>
</file>

<file path=ppt/charts/_rels/chart1490.xml.rels><?xml version='1.0' encoding='UTF-8' standalone='yes'?>
<Relationships xmlns="http://schemas.openxmlformats.org/package/2006/relationships"><Relationship Id="rId1" Type="http://schemas.openxmlformats.org/officeDocument/2006/relationships/themeOverride" Target="../theme/themeOverride1490.xml"/><Relationship Id="rId2" Type="http://schemas.openxmlformats.org/officeDocument/2006/relationships/package" Target="../embeddings/Microsoft_Excel_Worksheet1489.xlsx"/></Relationships>
</file>

<file path=ppt/charts/_rels/chart1491.xml.rels><?xml version='1.0' encoding='UTF-8' standalone='yes'?>
<Relationships xmlns="http://schemas.openxmlformats.org/package/2006/relationships"><Relationship Id="rId1" Type="http://schemas.openxmlformats.org/officeDocument/2006/relationships/themeOverride" Target="../theme/themeOverride1491.xml"/><Relationship Id="rId2" Type="http://schemas.openxmlformats.org/officeDocument/2006/relationships/package" Target="../embeddings/Microsoft_Excel_Worksheet1490.xlsx"/></Relationships>
</file>

<file path=ppt/charts/_rels/chart1499.xml.rels><?xml version='1.0' encoding='UTF-8' standalone='yes'?>
<Relationships xmlns="http://schemas.openxmlformats.org/package/2006/relationships"><Relationship Id="rId1" Type="http://schemas.openxmlformats.org/officeDocument/2006/relationships/themeOverride" Target="../theme/themeOverride1499.xml"/><Relationship Id="rId2" Type="http://schemas.openxmlformats.org/officeDocument/2006/relationships/package" Target="../embeddings/Microsoft_Excel_Worksheet1498.xlsx"/></Relationships>
</file>

<file path=ppt/charts/_rels/chart15.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14.xlsx"/></Relationships>
</file>

<file path=ppt/charts/_rels/chart1511.xml.rels><?xml version='1.0' encoding='UTF-8' standalone='yes'?>
<Relationships xmlns="http://schemas.openxmlformats.org/package/2006/relationships"><Relationship Id="rId1" Type="http://schemas.openxmlformats.org/officeDocument/2006/relationships/themeOverride" Target="../theme/themeOverride1511.xml"/><Relationship Id="rId2" Type="http://schemas.openxmlformats.org/officeDocument/2006/relationships/package" Target="../embeddings/Microsoft_Excel_Worksheet1510.xlsx"/></Relationships>
</file>

<file path=ppt/charts/_rels/chart1512.xml.rels><?xml version='1.0' encoding='UTF-8' standalone='yes'?>
<Relationships xmlns="http://schemas.openxmlformats.org/package/2006/relationships"><Relationship Id="rId1" Type="http://schemas.openxmlformats.org/officeDocument/2006/relationships/themeOverride" Target="../theme/themeOverride1512.xml"/><Relationship Id="rId2" Type="http://schemas.openxmlformats.org/officeDocument/2006/relationships/package" Target="../embeddings/Microsoft_Excel_Worksheet1511.xlsx"/></Relationships>
</file>

<file path=ppt/charts/_rels/chart1513.xml.rels><?xml version='1.0' encoding='UTF-8' standalone='yes'?>
<Relationships xmlns="http://schemas.openxmlformats.org/package/2006/relationships"><Relationship Id="rId1" Type="http://schemas.openxmlformats.org/officeDocument/2006/relationships/themeOverride" Target="../theme/themeOverride1513.xml"/><Relationship Id="rId2" Type="http://schemas.openxmlformats.org/officeDocument/2006/relationships/package" Target="../embeddings/Microsoft_Excel_Worksheet1512.xlsx"/></Relationships>
</file>

<file path=ppt/charts/_rels/chart1514.xml.rels><?xml version='1.0' encoding='UTF-8' standalone='yes'?>
<Relationships xmlns="http://schemas.openxmlformats.org/package/2006/relationships"><Relationship Id="rId1" Type="http://schemas.openxmlformats.org/officeDocument/2006/relationships/themeOverride" Target="../theme/themeOverride1514.xml"/><Relationship Id="rId2" Type="http://schemas.openxmlformats.org/officeDocument/2006/relationships/package" Target="../embeddings/Microsoft_Excel_Worksheet1513.xlsx"/></Relationships>
</file>

<file path=ppt/charts/_rels/chart1520.xml.rels><?xml version='1.0' encoding='UTF-8' standalone='yes'?>
<Relationships xmlns="http://schemas.openxmlformats.org/package/2006/relationships"><Relationship Id="rId1" Type="http://schemas.openxmlformats.org/officeDocument/2006/relationships/themeOverride" Target="../theme/themeOverride1520.xml"/><Relationship Id="rId2" Type="http://schemas.openxmlformats.org/officeDocument/2006/relationships/package" Target="../embeddings/Microsoft_Excel_Worksheet1519.xlsx"/></Relationships>
</file>

<file path=ppt/charts/_rels/chart1521.xml.rels><?xml version='1.0' encoding='UTF-8' standalone='yes'?>
<Relationships xmlns="http://schemas.openxmlformats.org/package/2006/relationships"><Relationship Id="rId1" Type="http://schemas.openxmlformats.org/officeDocument/2006/relationships/themeOverride" Target="../theme/themeOverride1521.xml"/><Relationship Id="rId2" Type="http://schemas.openxmlformats.org/officeDocument/2006/relationships/package" Target="../embeddings/Microsoft_Excel_Worksheet1520.xlsx"/></Relationships>
</file>

<file path=ppt/charts/_rels/chart1522.xml.rels><?xml version='1.0' encoding='UTF-8' standalone='yes'?>
<Relationships xmlns="http://schemas.openxmlformats.org/package/2006/relationships"><Relationship Id="rId1" Type="http://schemas.openxmlformats.org/officeDocument/2006/relationships/themeOverride" Target="../theme/themeOverride1522.xml"/><Relationship Id="rId2" Type="http://schemas.openxmlformats.org/officeDocument/2006/relationships/package" Target="../embeddings/Microsoft_Excel_Worksheet1521.xlsx"/></Relationships>
</file>

<file path=ppt/charts/_rels/chart1524.xml.rels><?xml version='1.0' encoding='UTF-8' standalone='yes'?>
<Relationships xmlns="http://schemas.openxmlformats.org/package/2006/relationships"><Relationship Id="rId1" Type="http://schemas.openxmlformats.org/officeDocument/2006/relationships/themeOverride" Target="../theme/themeOverride1524.xml"/><Relationship Id="rId2" Type="http://schemas.openxmlformats.org/officeDocument/2006/relationships/package" Target="../embeddings/Microsoft_Excel_Worksheet1523.xlsx"/></Relationships>
</file>

<file path=ppt/charts/_rels/chart1525.xml.rels><?xml version='1.0' encoding='UTF-8' standalone='yes'?>
<Relationships xmlns="http://schemas.openxmlformats.org/package/2006/relationships"><Relationship Id="rId1" Type="http://schemas.openxmlformats.org/officeDocument/2006/relationships/themeOverride" Target="../theme/themeOverride1525.xml"/><Relationship Id="rId2" Type="http://schemas.openxmlformats.org/officeDocument/2006/relationships/package" Target="../embeddings/Microsoft_Excel_Worksheet1524.xlsx"/></Relationships>
</file>

<file path=ppt/charts/_rels/chart1526.xml.rels><?xml version='1.0' encoding='UTF-8' standalone='yes'?>
<Relationships xmlns="http://schemas.openxmlformats.org/package/2006/relationships"><Relationship Id="rId1" Type="http://schemas.openxmlformats.org/officeDocument/2006/relationships/themeOverride" Target="../theme/themeOverride1526.xml"/><Relationship Id="rId2" Type="http://schemas.openxmlformats.org/officeDocument/2006/relationships/package" Target="../embeddings/Microsoft_Excel_Worksheet1525.xlsx"/></Relationships>
</file>

<file path=ppt/charts/_rels/chart1532.xml.rels><?xml version='1.0' encoding='UTF-8' standalone='yes'?>
<Relationships xmlns="http://schemas.openxmlformats.org/package/2006/relationships"><Relationship Id="rId1" Type="http://schemas.openxmlformats.org/officeDocument/2006/relationships/themeOverride" Target="../theme/themeOverride1532.xml"/><Relationship Id="rId2" Type="http://schemas.openxmlformats.org/officeDocument/2006/relationships/package" Target="../embeddings/Microsoft_Excel_Worksheet1531.xlsx"/></Relationships>
</file>

<file path=ppt/charts/_rels/chart1533.xml.rels><?xml version='1.0' encoding='UTF-8' standalone='yes'?>
<Relationships xmlns="http://schemas.openxmlformats.org/package/2006/relationships"><Relationship Id="rId1" Type="http://schemas.openxmlformats.org/officeDocument/2006/relationships/themeOverride" Target="../theme/themeOverride1533.xml"/><Relationship Id="rId2" Type="http://schemas.openxmlformats.org/officeDocument/2006/relationships/package" Target="../embeddings/Microsoft_Excel_Worksheet1532.xlsx"/></Relationships>
</file>

<file path=ppt/charts/_rels/chart1534.xml.rels><?xml version='1.0' encoding='UTF-8' standalone='yes'?>
<Relationships xmlns="http://schemas.openxmlformats.org/package/2006/relationships"><Relationship Id="rId1" Type="http://schemas.openxmlformats.org/officeDocument/2006/relationships/themeOverride" Target="../theme/themeOverride1534.xml"/><Relationship Id="rId2" Type="http://schemas.openxmlformats.org/officeDocument/2006/relationships/package" Target="../embeddings/Microsoft_Excel_Worksheet1533.xlsx"/></Relationships>
</file>

<file path=ppt/charts/_rels/chart1535.xml.rels><?xml version='1.0' encoding='UTF-8' standalone='yes'?>
<Relationships xmlns="http://schemas.openxmlformats.org/package/2006/relationships"><Relationship Id="rId1" Type="http://schemas.openxmlformats.org/officeDocument/2006/relationships/themeOverride" Target="../theme/themeOverride1535.xml"/><Relationship Id="rId2" Type="http://schemas.openxmlformats.org/officeDocument/2006/relationships/package" Target="../embeddings/Microsoft_Excel_Worksheet1534.xlsx"/></Relationships>
</file>

<file path=ppt/charts/_rels/chart1542.xml.rels><?xml version='1.0' encoding='UTF-8' standalone='yes'?>
<Relationships xmlns="http://schemas.openxmlformats.org/package/2006/relationships"><Relationship Id="rId1" Type="http://schemas.openxmlformats.org/officeDocument/2006/relationships/themeOverride" Target="../theme/themeOverride1542.xml"/><Relationship Id="rId2" Type="http://schemas.openxmlformats.org/officeDocument/2006/relationships/package" Target="../embeddings/Microsoft_Excel_Worksheet1541.xlsx"/></Relationships>
</file>

<file path=ppt/charts/_rels/chart1543.xml.rels><?xml version='1.0' encoding='UTF-8' standalone='yes'?>
<Relationships xmlns="http://schemas.openxmlformats.org/package/2006/relationships"><Relationship Id="rId1" Type="http://schemas.openxmlformats.org/officeDocument/2006/relationships/themeOverride" Target="../theme/themeOverride1543.xml"/><Relationship Id="rId2" Type="http://schemas.openxmlformats.org/officeDocument/2006/relationships/package" Target="../embeddings/Microsoft_Excel_Worksheet1542.xlsx"/></Relationships>
</file>

<file path=ppt/charts/_rels/chart1546.xml.rels><?xml version='1.0' encoding='UTF-8' standalone='yes'?>
<Relationships xmlns="http://schemas.openxmlformats.org/package/2006/relationships"><Relationship Id="rId1" Type="http://schemas.openxmlformats.org/officeDocument/2006/relationships/themeOverride" Target="../theme/themeOverride1546.xml"/><Relationship Id="rId2" Type="http://schemas.openxmlformats.org/officeDocument/2006/relationships/package" Target="../embeddings/Microsoft_Excel_Worksheet1545.xlsx"/></Relationships>
</file>

<file path=ppt/charts/_rels/chart1547.xml.rels><?xml version='1.0' encoding='UTF-8' standalone='yes'?>
<Relationships xmlns="http://schemas.openxmlformats.org/package/2006/relationships"><Relationship Id="rId1" Type="http://schemas.openxmlformats.org/officeDocument/2006/relationships/themeOverride" Target="../theme/themeOverride1547.xml"/><Relationship Id="rId2" Type="http://schemas.openxmlformats.org/officeDocument/2006/relationships/package" Target="../embeddings/Microsoft_Excel_Worksheet1546.xlsx"/></Relationships>
</file>

<file path=ppt/charts/_rels/chart1554.xml.rels><?xml version='1.0' encoding='UTF-8' standalone='yes'?>
<Relationships xmlns="http://schemas.openxmlformats.org/package/2006/relationships"><Relationship Id="rId1" Type="http://schemas.openxmlformats.org/officeDocument/2006/relationships/themeOverride" Target="../theme/themeOverride1554.xml"/><Relationship Id="rId2" Type="http://schemas.openxmlformats.org/officeDocument/2006/relationships/package" Target="../embeddings/Microsoft_Excel_Worksheet1553.xlsx"/></Relationships>
</file>

<file path=ppt/charts/_rels/chart1555.xml.rels><?xml version='1.0' encoding='UTF-8' standalone='yes'?>
<Relationships xmlns="http://schemas.openxmlformats.org/package/2006/relationships"><Relationship Id="rId1" Type="http://schemas.openxmlformats.org/officeDocument/2006/relationships/themeOverride" Target="../theme/themeOverride1555.xml"/><Relationship Id="rId2" Type="http://schemas.openxmlformats.org/officeDocument/2006/relationships/package" Target="../embeddings/Microsoft_Excel_Worksheet1554.xlsx"/></Relationships>
</file>

<file path=ppt/charts/_rels/chart1556.xml.rels><?xml version='1.0' encoding='UTF-8' standalone='yes'?>
<Relationships xmlns="http://schemas.openxmlformats.org/package/2006/relationships"><Relationship Id="rId1" Type="http://schemas.openxmlformats.org/officeDocument/2006/relationships/themeOverride" Target="../theme/themeOverride1556.xml"/><Relationship Id="rId2" Type="http://schemas.openxmlformats.org/officeDocument/2006/relationships/package" Target="../embeddings/Microsoft_Excel_Worksheet1555.xlsx"/></Relationships>
</file>

<file path=ppt/charts/_rels/chart1557.xml.rels><?xml version='1.0' encoding='UTF-8' standalone='yes'?>
<Relationships xmlns="http://schemas.openxmlformats.org/package/2006/relationships"><Relationship Id="rId1" Type="http://schemas.openxmlformats.org/officeDocument/2006/relationships/themeOverride" Target="../theme/themeOverride1557.xml"/><Relationship Id="rId2" Type="http://schemas.openxmlformats.org/officeDocument/2006/relationships/package" Target="../embeddings/Microsoft_Excel_Worksheet1556.xlsx"/></Relationships>
</file>

<file path=ppt/charts/_rels/chart156.xml.rels><?xml version='1.0' encoding='UTF-8' standalone='yes'?>
<Relationships xmlns="http://schemas.openxmlformats.org/package/2006/relationships"><Relationship Id="rId1" Type="http://schemas.openxmlformats.org/officeDocument/2006/relationships/themeOverride" Target="../theme/themeOverride156.xml"/><Relationship Id="rId2" Type="http://schemas.openxmlformats.org/officeDocument/2006/relationships/package" Target="../embeddings/Microsoft_Excel_Worksheet155.xlsx"/></Relationships>
</file>

<file path=ppt/charts/_rels/chart1568.xml.rels><?xml version='1.0' encoding='UTF-8' standalone='yes'?>
<Relationships xmlns="http://schemas.openxmlformats.org/package/2006/relationships"><Relationship Id="rId1" Type="http://schemas.openxmlformats.org/officeDocument/2006/relationships/themeOverride" Target="../theme/themeOverride1568.xml"/><Relationship Id="rId2" Type="http://schemas.openxmlformats.org/officeDocument/2006/relationships/package" Target="../embeddings/Microsoft_Excel_Worksheet1567.xlsx"/></Relationships>
</file>

<file path=ppt/charts/_rels/chart1569.xml.rels><?xml version='1.0' encoding='UTF-8' standalone='yes'?>
<Relationships xmlns="http://schemas.openxmlformats.org/package/2006/relationships"><Relationship Id="rId1" Type="http://schemas.openxmlformats.org/officeDocument/2006/relationships/themeOverride" Target="../theme/themeOverride1569.xml"/><Relationship Id="rId2" Type="http://schemas.openxmlformats.org/officeDocument/2006/relationships/package" Target="../embeddings/Microsoft_Excel_Worksheet1568.xlsx"/></Relationships>
</file>

<file path=ppt/charts/_rels/chart157.xml.rels><?xml version='1.0' encoding='UTF-8' standalone='yes'?>
<Relationships xmlns="http://schemas.openxmlformats.org/package/2006/relationships"><Relationship Id="rId1" Type="http://schemas.openxmlformats.org/officeDocument/2006/relationships/themeOverride" Target="../theme/themeOverride157.xml"/><Relationship Id="rId2" Type="http://schemas.openxmlformats.org/officeDocument/2006/relationships/package" Target="../embeddings/Microsoft_Excel_Worksheet156.xlsx"/></Relationships>
</file>

<file path=ppt/charts/_rels/chart1576.xml.rels><?xml version='1.0' encoding='UTF-8' standalone='yes'?>
<Relationships xmlns="http://schemas.openxmlformats.org/package/2006/relationships"><Relationship Id="rId1" Type="http://schemas.openxmlformats.org/officeDocument/2006/relationships/themeOverride" Target="../theme/themeOverride1576.xml"/><Relationship Id="rId2" Type="http://schemas.openxmlformats.org/officeDocument/2006/relationships/package" Target="../embeddings/Microsoft_Excel_Worksheet1575.xlsx"/></Relationships>
</file>

<file path=ppt/charts/_rels/chart1577.xml.rels><?xml version='1.0' encoding='UTF-8' standalone='yes'?>
<Relationships xmlns="http://schemas.openxmlformats.org/package/2006/relationships"><Relationship Id="rId1" Type="http://schemas.openxmlformats.org/officeDocument/2006/relationships/themeOverride" Target="../theme/themeOverride1577.xml"/><Relationship Id="rId2" Type="http://schemas.openxmlformats.org/officeDocument/2006/relationships/package" Target="../embeddings/Microsoft_Excel_Worksheet1576.xlsx"/></Relationships>
</file>

<file path=ppt/charts/_rels/chart1578.xml.rels><?xml version='1.0' encoding='UTF-8' standalone='yes'?>
<Relationships xmlns="http://schemas.openxmlformats.org/package/2006/relationships"><Relationship Id="rId1" Type="http://schemas.openxmlformats.org/officeDocument/2006/relationships/themeOverride" Target="../theme/themeOverride1578.xml"/><Relationship Id="rId2" Type="http://schemas.openxmlformats.org/officeDocument/2006/relationships/package" Target="../embeddings/Microsoft_Excel_Worksheet1577.xlsx"/></Relationships>
</file>

<file path=ppt/charts/_rels/chart1579.xml.rels><?xml version='1.0' encoding='UTF-8' standalone='yes'?>
<Relationships xmlns="http://schemas.openxmlformats.org/package/2006/relationships"><Relationship Id="rId1" Type="http://schemas.openxmlformats.org/officeDocument/2006/relationships/themeOverride" Target="../theme/themeOverride1579.xml"/><Relationship Id="rId2" Type="http://schemas.openxmlformats.org/officeDocument/2006/relationships/package" Target="../embeddings/Microsoft_Excel_Worksheet1578.xlsx"/></Relationships>
</file>

<file path=ppt/charts/_rels/chart158.xml.rels><?xml version='1.0' encoding='UTF-8' standalone='yes'?>
<Relationships xmlns="http://schemas.openxmlformats.org/package/2006/relationships"><Relationship Id="rId1" Type="http://schemas.openxmlformats.org/officeDocument/2006/relationships/themeOverride" Target="../theme/themeOverride158.xml"/><Relationship Id="rId2"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themeOverride" Target="../theme/themeOverride159.xml"/><Relationship Id="rId2" Type="http://schemas.openxmlformats.org/officeDocument/2006/relationships/package" Target="../embeddings/Microsoft_Excel_Worksheet158.xlsx"/></Relationships>
</file>

<file path=ppt/charts/_rels/chart1590.xml.rels><?xml version='1.0' encoding='UTF-8' standalone='yes'?>
<Relationships xmlns="http://schemas.openxmlformats.org/package/2006/relationships"><Relationship Id="rId1" Type="http://schemas.openxmlformats.org/officeDocument/2006/relationships/themeOverride" Target="../theme/themeOverride1590.xml"/><Relationship Id="rId2" Type="http://schemas.openxmlformats.org/officeDocument/2006/relationships/package" Target="../embeddings/Microsoft_Excel_Worksheet1589.xlsx"/></Relationships>
</file>

<file path=ppt/charts/_rels/chart1591.xml.rels><?xml version='1.0' encoding='UTF-8' standalone='yes'?>
<Relationships xmlns="http://schemas.openxmlformats.org/package/2006/relationships"><Relationship Id="rId1" Type="http://schemas.openxmlformats.org/officeDocument/2006/relationships/themeOverride" Target="../theme/themeOverride1591.xml"/><Relationship Id="rId2" Type="http://schemas.openxmlformats.org/officeDocument/2006/relationships/package" Target="../embeddings/Microsoft_Excel_Worksheet1590.xlsx"/></Relationships>
</file>

<file path=ppt/charts/_rels/chart160.xml.rels><?xml version='1.0' encoding='UTF-8' standalone='yes'?>
<Relationships xmlns="http://schemas.openxmlformats.org/package/2006/relationships"><Relationship Id="rId1" Type="http://schemas.openxmlformats.org/officeDocument/2006/relationships/themeOverride" Target="../theme/themeOverride160.xml"/><Relationship Id="rId2" Type="http://schemas.openxmlformats.org/officeDocument/2006/relationships/package" Target="../embeddings/Microsoft_Excel_Worksheet159.xlsx"/></Relationships>
</file>

<file path=ppt/charts/_rels/chart1600.xml.rels><?xml version='1.0' encoding='UTF-8' standalone='yes'?>
<Relationships xmlns="http://schemas.openxmlformats.org/package/2006/relationships"><Relationship Id="rId1" Type="http://schemas.openxmlformats.org/officeDocument/2006/relationships/themeOverride" Target="../theme/themeOverride1600.xml"/><Relationship Id="rId2" Type="http://schemas.openxmlformats.org/officeDocument/2006/relationships/package" Target="../embeddings/Microsoft_Excel_Worksheet1599.xlsx"/></Relationships>
</file>

<file path=ppt/charts/_rels/chart1601.xml.rels><?xml version='1.0' encoding='UTF-8' standalone='yes'?>
<Relationships xmlns="http://schemas.openxmlformats.org/package/2006/relationships"><Relationship Id="rId1" Type="http://schemas.openxmlformats.org/officeDocument/2006/relationships/themeOverride" Target="../theme/themeOverride1601.xml"/><Relationship Id="rId2" Type="http://schemas.openxmlformats.org/officeDocument/2006/relationships/package" Target="../embeddings/Microsoft_Excel_Worksheet1600.xlsx"/></Relationships>
</file>

<file path=ppt/charts/_rels/chart1604.xml.rels><?xml version='1.0' encoding='UTF-8' standalone='yes'?>
<Relationships xmlns="http://schemas.openxmlformats.org/package/2006/relationships"><Relationship Id="rId1" Type="http://schemas.openxmlformats.org/officeDocument/2006/relationships/themeOverride" Target="../theme/themeOverride1604.xml"/><Relationship Id="rId2" Type="http://schemas.openxmlformats.org/officeDocument/2006/relationships/package" Target="../embeddings/Microsoft_Excel_Worksheet1603.xlsx"/></Relationships>
</file>

<file path=ppt/charts/_rels/chart1605.xml.rels><?xml version='1.0' encoding='UTF-8' standalone='yes'?>
<Relationships xmlns="http://schemas.openxmlformats.org/package/2006/relationships"><Relationship Id="rId1" Type="http://schemas.openxmlformats.org/officeDocument/2006/relationships/themeOverride" Target="../theme/themeOverride1605.xml"/><Relationship Id="rId2" Type="http://schemas.openxmlformats.org/officeDocument/2006/relationships/package" Target="../embeddings/Microsoft_Excel_Worksheet1604.xlsx"/></Relationships>
</file>

<file path=ppt/charts/_rels/chart1612.xml.rels><?xml version='1.0' encoding='UTF-8' standalone='yes'?>
<Relationships xmlns="http://schemas.openxmlformats.org/package/2006/relationships"><Relationship Id="rId1" Type="http://schemas.openxmlformats.org/officeDocument/2006/relationships/themeOverride" Target="../theme/themeOverride1612.xml"/><Relationship Id="rId2" Type="http://schemas.openxmlformats.org/officeDocument/2006/relationships/package" Target="../embeddings/Microsoft_Excel_Worksheet1611.xlsx"/></Relationships>
</file>

<file path=ppt/charts/_rels/chart1613.xml.rels><?xml version='1.0' encoding='UTF-8' standalone='yes'?>
<Relationships xmlns="http://schemas.openxmlformats.org/package/2006/relationships"><Relationship Id="rId1" Type="http://schemas.openxmlformats.org/officeDocument/2006/relationships/themeOverride" Target="../theme/themeOverride1613.xml"/><Relationship Id="rId2" Type="http://schemas.openxmlformats.org/officeDocument/2006/relationships/package" Target="../embeddings/Microsoft_Excel_Worksheet1612.xlsx"/></Relationships>
</file>

<file path=ppt/charts/_rels/chart1614.xml.rels><?xml version='1.0' encoding='UTF-8' standalone='yes'?>
<Relationships xmlns="http://schemas.openxmlformats.org/package/2006/relationships"><Relationship Id="rId1" Type="http://schemas.openxmlformats.org/officeDocument/2006/relationships/themeOverride" Target="../theme/themeOverride1614.xml"/><Relationship Id="rId2" Type="http://schemas.openxmlformats.org/officeDocument/2006/relationships/package" Target="../embeddings/Microsoft_Excel_Worksheet1613.xlsx"/></Relationships>
</file>

<file path=ppt/charts/_rels/chart1615.xml.rels><?xml version='1.0' encoding='UTF-8' standalone='yes'?>
<Relationships xmlns="http://schemas.openxmlformats.org/package/2006/relationships"><Relationship Id="rId1" Type="http://schemas.openxmlformats.org/officeDocument/2006/relationships/themeOverride" Target="../theme/themeOverride1615.xml"/><Relationship Id="rId2" Type="http://schemas.openxmlformats.org/officeDocument/2006/relationships/package" Target="../embeddings/Microsoft_Excel_Worksheet1614.xlsx"/></Relationships>
</file>

<file path=ppt/charts/_rels/chart1622.xml.rels><?xml version='1.0' encoding='UTF-8' standalone='yes'?>
<Relationships xmlns="http://schemas.openxmlformats.org/package/2006/relationships"><Relationship Id="rId1" Type="http://schemas.openxmlformats.org/officeDocument/2006/relationships/themeOverride" Target="../theme/themeOverride1622.xml"/><Relationship Id="rId2" Type="http://schemas.openxmlformats.org/officeDocument/2006/relationships/package" Target="../embeddings/Microsoft_Excel_Worksheet1621.xlsx"/></Relationships>
</file>

<file path=ppt/charts/_rels/chart1623.xml.rels><?xml version='1.0' encoding='UTF-8' standalone='yes'?>
<Relationships xmlns="http://schemas.openxmlformats.org/package/2006/relationships"><Relationship Id="rId1" Type="http://schemas.openxmlformats.org/officeDocument/2006/relationships/themeOverride" Target="../theme/themeOverride1623.xml"/><Relationship Id="rId2" Type="http://schemas.openxmlformats.org/officeDocument/2006/relationships/package" Target="../embeddings/Microsoft_Excel_Worksheet1622.xlsx"/></Relationships>
</file>

<file path=ppt/charts/_rels/chart1626.xml.rels><?xml version='1.0' encoding='UTF-8' standalone='yes'?>
<Relationships xmlns="http://schemas.openxmlformats.org/package/2006/relationships"><Relationship Id="rId1" Type="http://schemas.openxmlformats.org/officeDocument/2006/relationships/themeOverride" Target="../theme/themeOverride1626.xml"/><Relationship Id="rId2" Type="http://schemas.openxmlformats.org/officeDocument/2006/relationships/package" Target="../embeddings/Microsoft_Excel_Worksheet1625.xlsx"/></Relationships>
</file>

<file path=ppt/charts/_rels/chart1627.xml.rels><?xml version='1.0' encoding='UTF-8' standalone='yes'?>
<Relationships xmlns="http://schemas.openxmlformats.org/package/2006/relationships"><Relationship Id="rId1" Type="http://schemas.openxmlformats.org/officeDocument/2006/relationships/themeOverride" Target="../theme/themeOverride1627.xml"/><Relationship Id="rId2" Type="http://schemas.openxmlformats.org/officeDocument/2006/relationships/package" Target="../embeddings/Microsoft_Excel_Worksheet1626.xlsx"/></Relationships>
</file>

<file path=ppt/charts/_rels/chart1634.xml.rels><?xml version='1.0' encoding='UTF-8' standalone='yes'?>
<Relationships xmlns="http://schemas.openxmlformats.org/package/2006/relationships"><Relationship Id="rId1" Type="http://schemas.openxmlformats.org/officeDocument/2006/relationships/themeOverride" Target="../theme/themeOverride1634.xml"/><Relationship Id="rId2" Type="http://schemas.openxmlformats.org/officeDocument/2006/relationships/package" Target="../embeddings/Microsoft_Excel_Worksheet1633.xlsx"/></Relationships>
</file>

<file path=ppt/charts/_rels/chart1635.xml.rels><?xml version='1.0' encoding='UTF-8' standalone='yes'?>
<Relationships xmlns="http://schemas.openxmlformats.org/package/2006/relationships"><Relationship Id="rId1" Type="http://schemas.openxmlformats.org/officeDocument/2006/relationships/themeOverride" Target="../theme/themeOverride1635.xml"/><Relationship Id="rId2" Type="http://schemas.openxmlformats.org/officeDocument/2006/relationships/package" Target="../embeddings/Microsoft_Excel_Worksheet1634.xlsx"/></Relationships>
</file>

<file path=ppt/charts/_rels/chart1636.xml.rels><?xml version='1.0' encoding='UTF-8' standalone='yes'?>
<Relationships xmlns="http://schemas.openxmlformats.org/package/2006/relationships"><Relationship Id="rId1" Type="http://schemas.openxmlformats.org/officeDocument/2006/relationships/themeOverride" Target="../theme/themeOverride1636.xml"/><Relationship Id="rId2" Type="http://schemas.openxmlformats.org/officeDocument/2006/relationships/package" Target="../embeddings/Microsoft_Excel_Worksheet1635.xlsx"/></Relationships>
</file>

<file path=ppt/charts/_rels/chart1637.xml.rels><?xml version='1.0' encoding='UTF-8' standalone='yes'?>
<Relationships xmlns="http://schemas.openxmlformats.org/package/2006/relationships"><Relationship Id="rId1" Type="http://schemas.openxmlformats.org/officeDocument/2006/relationships/themeOverride" Target="../theme/themeOverride1637.xml"/><Relationship Id="rId2" Type="http://schemas.openxmlformats.org/officeDocument/2006/relationships/package" Target="../embeddings/Microsoft_Excel_Worksheet1636.xlsx"/></Relationships>
</file>

<file path=ppt/charts/_rels/chart1648.xml.rels><?xml version='1.0' encoding='UTF-8' standalone='yes'?>
<Relationships xmlns="http://schemas.openxmlformats.org/package/2006/relationships"><Relationship Id="rId1" Type="http://schemas.openxmlformats.org/officeDocument/2006/relationships/themeOverride" Target="../theme/themeOverride1648.xml"/><Relationship Id="rId2" Type="http://schemas.openxmlformats.org/officeDocument/2006/relationships/package" Target="../embeddings/Microsoft_Excel_Worksheet1647.xlsx"/></Relationships>
</file>

<file path=ppt/charts/_rels/chart1649.xml.rels><?xml version='1.0' encoding='UTF-8' standalone='yes'?>
<Relationships xmlns="http://schemas.openxmlformats.org/package/2006/relationships"><Relationship Id="rId1" Type="http://schemas.openxmlformats.org/officeDocument/2006/relationships/themeOverride" Target="../theme/themeOverride1649.xml"/><Relationship Id="rId2" Type="http://schemas.openxmlformats.org/officeDocument/2006/relationships/package" Target="../embeddings/Microsoft_Excel_Worksheet1648.xlsx"/></Relationships>
</file>

<file path=ppt/charts/_rels/chart1656.xml.rels><?xml version='1.0' encoding='UTF-8' standalone='yes'?>
<Relationships xmlns="http://schemas.openxmlformats.org/package/2006/relationships"><Relationship Id="rId1" Type="http://schemas.openxmlformats.org/officeDocument/2006/relationships/themeOverride" Target="../theme/themeOverride1656.xml"/><Relationship Id="rId2" Type="http://schemas.openxmlformats.org/officeDocument/2006/relationships/package" Target="../embeddings/Microsoft_Excel_Worksheet1655.xlsx"/></Relationships>
</file>

<file path=ppt/charts/_rels/chart1657.xml.rels><?xml version='1.0' encoding='UTF-8' standalone='yes'?>
<Relationships xmlns="http://schemas.openxmlformats.org/package/2006/relationships"><Relationship Id="rId1" Type="http://schemas.openxmlformats.org/officeDocument/2006/relationships/themeOverride" Target="../theme/themeOverride1657.xml"/><Relationship Id="rId2" Type="http://schemas.openxmlformats.org/officeDocument/2006/relationships/package" Target="../embeddings/Microsoft_Excel_Worksheet1656.xlsx"/></Relationships>
</file>

<file path=ppt/charts/_rels/chart1658.xml.rels><?xml version='1.0' encoding='UTF-8' standalone='yes'?>
<Relationships xmlns="http://schemas.openxmlformats.org/package/2006/relationships"><Relationship Id="rId1" Type="http://schemas.openxmlformats.org/officeDocument/2006/relationships/themeOverride" Target="../theme/themeOverride1658.xml"/><Relationship Id="rId2" Type="http://schemas.openxmlformats.org/officeDocument/2006/relationships/package" Target="../embeddings/Microsoft_Excel_Worksheet1657.xlsx"/></Relationships>
</file>

<file path=ppt/charts/_rels/chart1659.xml.rels><?xml version='1.0' encoding='UTF-8' standalone='yes'?>
<Relationships xmlns="http://schemas.openxmlformats.org/package/2006/relationships"><Relationship Id="rId1" Type="http://schemas.openxmlformats.org/officeDocument/2006/relationships/themeOverride" Target="../theme/themeOverride1659.xml"/><Relationship Id="rId2" Type="http://schemas.openxmlformats.org/officeDocument/2006/relationships/package" Target="../embeddings/Microsoft_Excel_Worksheet1658.xlsx"/></Relationships>
</file>

<file path=ppt/charts/_rels/chart1666.xml.rels><?xml version='1.0' encoding='UTF-8' standalone='yes'?>
<Relationships xmlns="http://schemas.openxmlformats.org/package/2006/relationships"><Relationship Id="rId1" Type="http://schemas.openxmlformats.org/officeDocument/2006/relationships/themeOverride" Target="../theme/themeOverride1666.xml"/><Relationship Id="rId2" Type="http://schemas.openxmlformats.org/officeDocument/2006/relationships/package" Target="../embeddings/Microsoft_Excel_Worksheet1665.xlsx"/></Relationships>
</file>

<file path=ppt/charts/_rels/chart1667.xml.rels><?xml version='1.0' encoding='UTF-8' standalone='yes'?>
<Relationships xmlns="http://schemas.openxmlformats.org/package/2006/relationships"><Relationship Id="rId1" Type="http://schemas.openxmlformats.org/officeDocument/2006/relationships/themeOverride" Target="../theme/themeOverride1667.xml"/><Relationship Id="rId2" Type="http://schemas.openxmlformats.org/officeDocument/2006/relationships/package" Target="../embeddings/Microsoft_Excel_Worksheet1666.xlsx"/></Relationships>
</file>

<file path=ppt/charts/_rels/chart1668.xml.rels><?xml version='1.0' encoding='UTF-8' standalone='yes'?>
<Relationships xmlns="http://schemas.openxmlformats.org/package/2006/relationships"><Relationship Id="rId1" Type="http://schemas.openxmlformats.org/officeDocument/2006/relationships/themeOverride" Target="../theme/themeOverride1668.xml"/><Relationship Id="rId2" Type="http://schemas.openxmlformats.org/officeDocument/2006/relationships/package" Target="../embeddings/Microsoft_Excel_Worksheet1667.xlsx"/></Relationships>
</file>

<file path=ppt/charts/_rels/chart1669.xml.rels><?xml version='1.0' encoding='UTF-8' standalone='yes'?>
<Relationships xmlns="http://schemas.openxmlformats.org/package/2006/relationships"><Relationship Id="rId1" Type="http://schemas.openxmlformats.org/officeDocument/2006/relationships/themeOverride" Target="../theme/themeOverride1669.xml"/><Relationship Id="rId2" Type="http://schemas.openxmlformats.org/officeDocument/2006/relationships/package" Target="../embeddings/Microsoft_Excel_Worksheet1668.xlsx"/></Relationships>
</file>

<file path=ppt/charts/_rels/chart1676.xml.rels><?xml version='1.0' encoding='UTF-8' standalone='yes'?>
<Relationships xmlns="http://schemas.openxmlformats.org/package/2006/relationships"><Relationship Id="rId1" Type="http://schemas.openxmlformats.org/officeDocument/2006/relationships/themeOverride" Target="../theme/themeOverride1676.xml"/><Relationship Id="rId2" Type="http://schemas.openxmlformats.org/officeDocument/2006/relationships/package" Target="../embeddings/Microsoft_Excel_Worksheet1675.xlsx"/></Relationships>
</file>

<file path=ppt/charts/_rels/chart1677.xml.rels><?xml version='1.0' encoding='UTF-8' standalone='yes'?>
<Relationships xmlns="http://schemas.openxmlformats.org/package/2006/relationships"><Relationship Id="rId1" Type="http://schemas.openxmlformats.org/officeDocument/2006/relationships/themeOverride" Target="../theme/themeOverride1677.xml"/><Relationship Id="rId2" Type="http://schemas.openxmlformats.org/officeDocument/2006/relationships/package" Target="../embeddings/Microsoft_Excel_Worksheet1676.xlsx"/></Relationships>
</file>

<file path=ppt/charts/_rels/chart1688.xml.rels><?xml version='1.0' encoding='UTF-8' standalone='yes'?>
<Relationships xmlns="http://schemas.openxmlformats.org/package/2006/relationships"><Relationship Id="rId1" Type="http://schemas.openxmlformats.org/officeDocument/2006/relationships/themeOverride" Target="../theme/themeOverride1688.xml"/><Relationship Id="rId2" Type="http://schemas.openxmlformats.org/officeDocument/2006/relationships/package" Target="../embeddings/Microsoft_Excel_Worksheet1687.xlsx"/></Relationships>
</file>

<file path=ppt/charts/_rels/chart1689.xml.rels><?xml version='1.0' encoding='UTF-8' standalone='yes'?>
<Relationships xmlns="http://schemas.openxmlformats.org/package/2006/relationships"><Relationship Id="rId1" Type="http://schemas.openxmlformats.org/officeDocument/2006/relationships/themeOverride" Target="../theme/themeOverride1689.xml"/><Relationship Id="rId2" Type="http://schemas.openxmlformats.org/officeDocument/2006/relationships/package" Target="../embeddings/Microsoft_Excel_Worksheet1688.xlsx"/></Relationships>
</file>

<file path=ppt/charts/_rels/chart1690.xml.rels><?xml version='1.0' encoding='UTF-8' standalone='yes'?>
<Relationships xmlns="http://schemas.openxmlformats.org/package/2006/relationships"><Relationship Id="rId1" Type="http://schemas.openxmlformats.org/officeDocument/2006/relationships/themeOverride" Target="../theme/themeOverride1690.xml"/><Relationship Id="rId2" Type="http://schemas.openxmlformats.org/officeDocument/2006/relationships/package" Target="../embeddings/Microsoft_Excel_Worksheet1689.xlsx"/></Relationships>
</file>

<file path=ppt/charts/_rels/chart1691.xml.rels><?xml version='1.0' encoding='UTF-8' standalone='yes'?>
<Relationships xmlns="http://schemas.openxmlformats.org/package/2006/relationships"><Relationship Id="rId1" Type="http://schemas.openxmlformats.org/officeDocument/2006/relationships/themeOverride" Target="../theme/themeOverride1691.xml"/><Relationship Id="rId2" Type="http://schemas.openxmlformats.org/officeDocument/2006/relationships/package" Target="../embeddings/Microsoft_Excel_Worksheet1690.xlsx"/></Relationships>
</file>

<file path=ppt/charts/_rels/chart1698.xml.rels><?xml version='1.0' encoding='UTF-8' standalone='yes'?>
<Relationships xmlns="http://schemas.openxmlformats.org/package/2006/relationships"><Relationship Id="rId1" Type="http://schemas.openxmlformats.org/officeDocument/2006/relationships/themeOverride" Target="../theme/themeOverride1698.xml"/><Relationship Id="rId2" Type="http://schemas.openxmlformats.org/officeDocument/2006/relationships/package" Target="../embeddings/Microsoft_Excel_Worksheet1697.xlsx"/></Relationships>
</file>

<file path=ppt/charts/_rels/chart1699.xml.rels><?xml version='1.0' encoding='UTF-8' standalone='yes'?>
<Relationships xmlns="http://schemas.openxmlformats.org/package/2006/relationships"><Relationship Id="rId1" Type="http://schemas.openxmlformats.org/officeDocument/2006/relationships/themeOverride" Target="../theme/themeOverride1699.xml"/><Relationship Id="rId2" Type="http://schemas.openxmlformats.org/officeDocument/2006/relationships/package" Target="../embeddings/Microsoft_Excel_Worksheet1698.xlsx"/></Relationships>
</file>

<file path=ppt/charts/_rels/chart1710.xml.rels><?xml version='1.0' encoding='UTF-8' standalone='yes'?>
<Relationships xmlns="http://schemas.openxmlformats.org/package/2006/relationships"><Relationship Id="rId1" Type="http://schemas.openxmlformats.org/officeDocument/2006/relationships/themeOverride" Target="../theme/themeOverride1710.xml"/><Relationship Id="rId2" Type="http://schemas.openxmlformats.org/officeDocument/2006/relationships/package" Target="../embeddings/Microsoft_Excel_Worksheet1709.xlsx"/></Relationships>
</file>

<file path=ppt/charts/_rels/chart1711.xml.rels><?xml version='1.0' encoding='UTF-8' standalone='yes'?>
<Relationships xmlns="http://schemas.openxmlformats.org/package/2006/relationships"><Relationship Id="rId1" Type="http://schemas.openxmlformats.org/officeDocument/2006/relationships/themeOverride" Target="../theme/themeOverride1711.xml"/><Relationship Id="rId2" Type="http://schemas.openxmlformats.org/officeDocument/2006/relationships/package" Target="../embeddings/Microsoft_Excel_Worksheet1710.xlsx"/></Relationships>
</file>

<file path=ppt/charts/_rels/chart1712.xml.rels><?xml version='1.0' encoding='UTF-8' standalone='yes'?>
<Relationships xmlns="http://schemas.openxmlformats.org/package/2006/relationships"><Relationship Id="rId1" Type="http://schemas.openxmlformats.org/officeDocument/2006/relationships/themeOverride" Target="../theme/themeOverride1712.xml"/><Relationship Id="rId2" Type="http://schemas.openxmlformats.org/officeDocument/2006/relationships/package" Target="../embeddings/Microsoft_Excel_Worksheet1711.xlsx"/></Relationships>
</file>

<file path=ppt/charts/_rels/chart1713.xml.rels><?xml version='1.0' encoding='UTF-8' standalone='yes'?>
<Relationships xmlns="http://schemas.openxmlformats.org/package/2006/relationships"><Relationship Id="rId1" Type="http://schemas.openxmlformats.org/officeDocument/2006/relationships/themeOverride" Target="../theme/themeOverride1713.xml"/><Relationship Id="rId2" Type="http://schemas.openxmlformats.org/officeDocument/2006/relationships/package" Target="../embeddings/Microsoft_Excel_Worksheet1712.xlsx"/></Relationships>
</file>

<file path=ppt/charts/_rels/chart1720.xml.rels><?xml version='1.0' encoding='UTF-8' standalone='yes'?>
<Relationships xmlns="http://schemas.openxmlformats.org/package/2006/relationships"><Relationship Id="rId1" Type="http://schemas.openxmlformats.org/officeDocument/2006/relationships/themeOverride" Target="../theme/themeOverride1720.xml"/><Relationship Id="rId2" Type="http://schemas.openxmlformats.org/officeDocument/2006/relationships/package" Target="../embeddings/Microsoft_Excel_Worksheet1719.xlsx"/></Relationships>
</file>

<file path=ppt/charts/_rels/chart1721.xml.rels><?xml version='1.0' encoding='UTF-8' standalone='yes'?>
<Relationships xmlns="http://schemas.openxmlformats.org/package/2006/relationships"><Relationship Id="rId1" Type="http://schemas.openxmlformats.org/officeDocument/2006/relationships/themeOverride" Target="../theme/themeOverride1721.xml"/><Relationship Id="rId2" Type="http://schemas.openxmlformats.org/officeDocument/2006/relationships/package" Target="../embeddings/Microsoft_Excel_Worksheet1720.xlsx"/></Relationships>
</file>

<file path=ppt/charts/_rels/chart1724.xml.rels><?xml version='1.0' encoding='UTF-8' standalone='yes'?>
<Relationships xmlns="http://schemas.openxmlformats.org/package/2006/relationships"><Relationship Id="rId1" Type="http://schemas.openxmlformats.org/officeDocument/2006/relationships/themeOverride" Target="../theme/themeOverride1724.xml"/><Relationship Id="rId2" Type="http://schemas.openxmlformats.org/officeDocument/2006/relationships/package" Target="../embeddings/Microsoft_Excel_Worksheet1723.xlsx"/></Relationships>
</file>

<file path=ppt/charts/_rels/chart1725.xml.rels><?xml version='1.0' encoding='UTF-8' standalone='yes'?>
<Relationships xmlns="http://schemas.openxmlformats.org/package/2006/relationships"><Relationship Id="rId1" Type="http://schemas.openxmlformats.org/officeDocument/2006/relationships/themeOverride" Target="../theme/themeOverride1725.xml"/><Relationship Id="rId2" Type="http://schemas.openxmlformats.org/officeDocument/2006/relationships/package" Target="../embeddings/Microsoft_Excel_Worksheet1724.xlsx"/></Relationships>
</file>

<file path=ppt/charts/_rels/chart1726.xml.rels><?xml version='1.0' encoding='UTF-8' standalone='yes'?>
<Relationships xmlns="http://schemas.openxmlformats.org/package/2006/relationships"><Relationship Id="rId1" Type="http://schemas.openxmlformats.org/officeDocument/2006/relationships/themeOverride" Target="../theme/themeOverride1726.xml"/><Relationship Id="rId2" Type="http://schemas.openxmlformats.org/officeDocument/2006/relationships/package" Target="../embeddings/Microsoft_Excel_Worksheet1725.xlsx"/></Relationships>
</file>

<file path=ppt/charts/_rels/chart1727.xml.rels><?xml version='1.0' encoding='UTF-8' standalone='yes'?>
<Relationships xmlns="http://schemas.openxmlformats.org/package/2006/relationships"><Relationship Id="rId1" Type="http://schemas.openxmlformats.org/officeDocument/2006/relationships/themeOverride" Target="../theme/themeOverride1727.xml"/><Relationship Id="rId2" Type="http://schemas.openxmlformats.org/officeDocument/2006/relationships/package" Target="../embeddings/Microsoft_Excel_Worksheet1726.xlsx"/></Relationships>
</file>

<file path=ppt/charts/_rels/chart1734.xml.rels><?xml version='1.0' encoding='UTF-8' standalone='yes'?>
<Relationships xmlns="http://schemas.openxmlformats.org/package/2006/relationships"><Relationship Id="rId1" Type="http://schemas.openxmlformats.org/officeDocument/2006/relationships/themeOverride" Target="../theme/themeOverride1734.xml"/><Relationship Id="rId2" Type="http://schemas.openxmlformats.org/officeDocument/2006/relationships/package" Target="../embeddings/Microsoft_Excel_Worksheet1733.xlsx"/></Relationships>
</file>

<file path=ppt/charts/_rels/chart1735.xml.rels><?xml version='1.0' encoding='UTF-8' standalone='yes'?>
<Relationships xmlns="http://schemas.openxmlformats.org/package/2006/relationships"><Relationship Id="rId1" Type="http://schemas.openxmlformats.org/officeDocument/2006/relationships/themeOverride" Target="../theme/themeOverride1735.xml"/><Relationship Id="rId2" Type="http://schemas.openxmlformats.org/officeDocument/2006/relationships/package" Target="../embeddings/Microsoft_Excel_Worksheet1734.xlsx"/></Relationships>
</file>

<file path=ppt/charts/_rels/chart1742.xml.rels><?xml version='1.0' encoding='UTF-8' standalone='yes'?>
<Relationships xmlns="http://schemas.openxmlformats.org/package/2006/relationships"><Relationship Id="rId1" Type="http://schemas.openxmlformats.org/officeDocument/2006/relationships/themeOverride" Target="../theme/themeOverride1742.xml"/><Relationship Id="rId2" Type="http://schemas.openxmlformats.org/officeDocument/2006/relationships/package" Target="../embeddings/Microsoft_Excel_Worksheet1741.xlsx"/></Relationships>
</file>

<file path=ppt/charts/_rels/chart1743.xml.rels><?xml version='1.0' encoding='UTF-8' standalone='yes'?>
<Relationships xmlns="http://schemas.openxmlformats.org/package/2006/relationships"><Relationship Id="rId1" Type="http://schemas.openxmlformats.org/officeDocument/2006/relationships/themeOverride" Target="../theme/themeOverride1743.xml"/><Relationship Id="rId2" Type="http://schemas.openxmlformats.org/officeDocument/2006/relationships/package" Target="../embeddings/Microsoft_Excel_Worksheet1742.xlsx"/></Relationships>
</file>

<file path=ppt/charts/_rels/chart1746.xml.rels><?xml version='1.0' encoding='UTF-8' standalone='yes'?>
<Relationships xmlns="http://schemas.openxmlformats.org/package/2006/relationships"><Relationship Id="rId1" Type="http://schemas.openxmlformats.org/officeDocument/2006/relationships/themeOverride" Target="../theme/themeOverride1746.xml"/><Relationship Id="rId2" Type="http://schemas.openxmlformats.org/officeDocument/2006/relationships/package" Target="../embeddings/Microsoft_Excel_Worksheet1745.xlsx"/></Relationships>
</file>

<file path=ppt/charts/_rels/chart1747.xml.rels><?xml version='1.0' encoding='UTF-8' standalone='yes'?>
<Relationships xmlns="http://schemas.openxmlformats.org/package/2006/relationships"><Relationship Id="rId1" Type="http://schemas.openxmlformats.org/officeDocument/2006/relationships/themeOverride" Target="../theme/themeOverride1747.xml"/><Relationship Id="rId2" Type="http://schemas.openxmlformats.org/officeDocument/2006/relationships/package" Target="../embeddings/Microsoft_Excel_Worksheet1746.xlsx"/></Relationships>
</file>

<file path=ppt/charts/_rels/chart1748.xml.rels><?xml version='1.0' encoding='UTF-8' standalone='yes'?>
<Relationships xmlns="http://schemas.openxmlformats.org/package/2006/relationships"><Relationship Id="rId1" Type="http://schemas.openxmlformats.org/officeDocument/2006/relationships/themeOverride" Target="../theme/themeOverride1748.xml"/><Relationship Id="rId2" Type="http://schemas.openxmlformats.org/officeDocument/2006/relationships/package" Target="../embeddings/Microsoft_Excel_Worksheet1747.xlsx"/></Relationships>
</file>

<file path=ppt/charts/_rels/chart1749.xml.rels><?xml version='1.0' encoding='UTF-8' standalone='yes'?>
<Relationships xmlns="http://schemas.openxmlformats.org/package/2006/relationships"><Relationship Id="rId1" Type="http://schemas.openxmlformats.org/officeDocument/2006/relationships/themeOverride" Target="../theme/themeOverride1749.xml"/><Relationship Id="rId2" Type="http://schemas.openxmlformats.org/officeDocument/2006/relationships/package" Target="../embeddings/Microsoft_Excel_Worksheet1748.xlsx"/></Relationships>
</file>

<file path=ppt/charts/_rels/chart1756.xml.rels><?xml version='1.0' encoding='UTF-8' standalone='yes'?>
<Relationships xmlns="http://schemas.openxmlformats.org/package/2006/relationships"><Relationship Id="rId1" Type="http://schemas.openxmlformats.org/officeDocument/2006/relationships/themeOverride" Target="../theme/themeOverride1756.xml"/><Relationship Id="rId2" Type="http://schemas.openxmlformats.org/officeDocument/2006/relationships/package" Target="../embeddings/Microsoft_Excel_Worksheet1755.xlsx"/></Relationships>
</file>

<file path=ppt/charts/_rels/chart1757.xml.rels><?xml version='1.0' encoding='UTF-8' standalone='yes'?>
<Relationships xmlns="http://schemas.openxmlformats.org/package/2006/relationships"><Relationship Id="rId1" Type="http://schemas.openxmlformats.org/officeDocument/2006/relationships/themeOverride" Target="../theme/themeOverride1757.xml"/><Relationship Id="rId2" Type="http://schemas.openxmlformats.org/officeDocument/2006/relationships/package" Target="../embeddings/Microsoft_Excel_Worksheet1756.xlsx"/></Relationships>
</file>

<file path=ppt/charts/_rels/chart1768.xml.rels><?xml version='1.0' encoding='UTF-8' standalone='yes'?>
<Relationships xmlns="http://schemas.openxmlformats.org/package/2006/relationships"><Relationship Id="rId1" Type="http://schemas.openxmlformats.org/officeDocument/2006/relationships/themeOverride" Target="../theme/themeOverride1768.xml"/><Relationship Id="rId2" Type="http://schemas.openxmlformats.org/officeDocument/2006/relationships/package" Target="../embeddings/Microsoft_Excel_Worksheet1767.xlsx"/></Relationships>
</file>

<file path=ppt/charts/_rels/chart1769.xml.rels><?xml version='1.0' encoding='UTF-8' standalone='yes'?>
<Relationships xmlns="http://schemas.openxmlformats.org/package/2006/relationships"><Relationship Id="rId1" Type="http://schemas.openxmlformats.org/officeDocument/2006/relationships/themeOverride" Target="../theme/themeOverride1769.xml"/><Relationship Id="rId2" Type="http://schemas.openxmlformats.org/officeDocument/2006/relationships/package" Target="../embeddings/Microsoft_Excel_Worksheet1768.xlsx"/></Relationships>
</file>

<file path=ppt/charts/_rels/chart1770.xml.rels><?xml version='1.0' encoding='UTF-8' standalone='yes'?>
<Relationships xmlns="http://schemas.openxmlformats.org/package/2006/relationships"><Relationship Id="rId1" Type="http://schemas.openxmlformats.org/officeDocument/2006/relationships/themeOverride" Target="../theme/themeOverride1770.xml"/><Relationship Id="rId2" Type="http://schemas.openxmlformats.org/officeDocument/2006/relationships/package" Target="../embeddings/Microsoft_Excel_Worksheet1769.xlsx"/></Relationships>
</file>

<file path=ppt/charts/_rels/chart1771.xml.rels><?xml version='1.0' encoding='UTF-8' standalone='yes'?>
<Relationships xmlns="http://schemas.openxmlformats.org/package/2006/relationships"><Relationship Id="rId1" Type="http://schemas.openxmlformats.org/officeDocument/2006/relationships/themeOverride" Target="../theme/themeOverride1771.xml"/><Relationship Id="rId2" Type="http://schemas.openxmlformats.org/officeDocument/2006/relationships/package" Target="../embeddings/Microsoft_Excel_Worksheet1770.xlsx"/></Relationships>
</file>

<file path=ppt/charts/_rels/chart1778.xml.rels><?xml version='1.0' encoding='UTF-8' standalone='yes'?>
<Relationships xmlns="http://schemas.openxmlformats.org/package/2006/relationships"><Relationship Id="rId1" Type="http://schemas.openxmlformats.org/officeDocument/2006/relationships/themeOverride" Target="../theme/themeOverride1778.xml"/><Relationship Id="rId2" Type="http://schemas.openxmlformats.org/officeDocument/2006/relationships/package" Target="../embeddings/Microsoft_Excel_Worksheet1777.xlsx"/></Relationships>
</file>

<file path=ppt/charts/_rels/chart1779.xml.rels><?xml version='1.0' encoding='UTF-8' standalone='yes'?>
<Relationships xmlns="http://schemas.openxmlformats.org/package/2006/relationships"><Relationship Id="rId1" Type="http://schemas.openxmlformats.org/officeDocument/2006/relationships/themeOverride" Target="../theme/themeOverride1779.xml"/><Relationship Id="rId2" Type="http://schemas.openxmlformats.org/officeDocument/2006/relationships/package" Target="../embeddings/Microsoft_Excel_Worksheet1778.xlsx"/></Relationships>
</file>

<file path=ppt/charts/_rels/chart1790.xml.rels><?xml version='1.0' encoding='UTF-8' standalone='yes'?>
<Relationships xmlns="http://schemas.openxmlformats.org/package/2006/relationships"><Relationship Id="rId1" Type="http://schemas.openxmlformats.org/officeDocument/2006/relationships/themeOverride" Target="../theme/themeOverride1790.xml"/><Relationship Id="rId2" Type="http://schemas.openxmlformats.org/officeDocument/2006/relationships/package" Target="../embeddings/Microsoft_Excel_Worksheet1789.xlsx"/></Relationships>
</file>

<file path=ppt/charts/_rels/chart1791.xml.rels><?xml version='1.0' encoding='UTF-8' standalone='yes'?>
<Relationships xmlns="http://schemas.openxmlformats.org/package/2006/relationships"><Relationship Id="rId1" Type="http://schemas.openxmlformats.org/officeDocument/2006/relationships/themeOverride" Target="../theme/themeOverride1791.xml"/><Relationship Id="rId2" Type="http://schemas.openxmlformats.org/officeDocument/2006/relationships/package" Target="../embeddings/Microsoft_Excel_Worksheet1790.xlsx"/></Relationships>
</file>

<file path=ppt/charts/_rels/chart1792.xml.rels><?xml version='1.0' encoding='UTF-8' standalone='yes'?>
<Relationships xmlns="http://schemas.openxmlformats.org/package/2006/relationships"><Relationship Id="rId1" Type="http://schemas.openxmlformats.org/officeDocument/2006/relationships/themeOverride" Target="../theme/themeOverride1792.xml"/><Relationship Id="rId2" Type="http://schemas.openxmlformats.org/officeDocument/2006/relationships/package" Target="../embeddings/Microsoft_Excel_Worksheet1791.xlsx"/></Relationships>
</file>

<file path=ppt/charts/_rels/chart1793.xml.rels><?xml version='1.0' encoding='UTF-8' standalone='yes'?>
<Relationships xmlns="http://schemas.openxmlformats.org/package/2006/relationships"><Relationship Id="rId1" Type="http://schemas.openxmlformats.org/officeDocument/2006/relationships/themeOverride" Target="../theme/themeOverride1793.xml"/><Relationship Id="rId2" Type="http://schemas.openxmlformats.org/officeDocument/2006/relationships/package" Target="../embeddings/Microsoft_Excel_Worksheet1792.xlsx"/></Relationships>
</file>

<file path=ppt/charts/_rels/chart1800.xml.rels><?xml version='1.0' encoding='UTF-8' standalone='yes'?>
<Relationships xmlns="http://schemas.openxmlformats.org/package/2006/relationships"><Relationship Id="rId1" Type="http://schemas.openxmlformats.org/officeDocument/2006/relationships/themeOverride" Target="../theme/themeOverride1800.xml"/><Relationship Id="rId2" Type="http://schemas.openxmlformats.org/officeDocument/2006/relationships/package" Target="../embeddings/Microsoft_Excel_Worksheet1799.xlsx"/></Relationships>
</file>

<file path=ppt/charts/_rels/chart1801.xml.rels><?xml version='1.0' encoding='UTF-8' standalone='yes'?>
<Relationships xmlns="http://schemas.openxmlformats.org/package/2006/relationships"><Relationship Id="rId1" Type="http://schemas.openxmlformats.org/officeDocument/2006/relationships/themeOverride" Target="../theme/themeOverride1801.xml"/><Relationship Id="rId2" Type="http://schemas.openxmlformats.org/officeDocument/2006/relationships/package" Target="../embeddings/Microsoft_Excel_Worksheet1800.xlsx"/></Relationships>
</file>

<file path=ppt/charts/_rels/chart1804.xml.rels><?xml version='1.0' encoding='UTF-8' standalone='yes'?>
<Relationships xmlns="http://schemas.openxmlformats.org/package/2006/relationships"><Relationship Id="rId1" Type="http://schemas.openxmlformats.org/officeDocument/2006/relationships/themeOverride" Target="../theme/themeOverride1804.xml"/><Relationship Id="rId2" Type="http://schemas.openxmlformats.org/officeDocument/2006/relationships/package" Target="../embeddings/Microsoft_Excel_Worksheet1803.xlsx"/></Relationships>
</file>

<file path=ppt/charts/_rels/chart1805.xml.rels><?xml version='1.0' encoding='UTF-8' standalone='yes'?>
<Relationships xmlns="http://schemas.openxmlformats.org/package/2006/relationships"><Relationship Id="rId1" Type="http://schemas.openxmlformats.org/officeDocument/2006/relationships/themeOverride" Target="../theme/themeOverride1805.xml"/><Relationship Id="rId2" Type="http://schemas.openxmlformats.org/officeDocument/2006/relationships/package" Target="../embeddings/Microsoft_Excel_Worksheet1804.xlsx"/></Relationships>
</file>

<file path=ppt/charts/_rels/chart1812.xml.rels><?xml version='1.0' encoding='UTF-8' standalone='yes'?>
<Relationships xmlns="http://schemas.openxmlformats.org/package/2006/relationships"><Relationship Id="rId1" Type="http://schemas.openxmlformats.org/officeDocument/2006/relationships/themeOverride" Target="../theme/themeOverride1812.xml"/><Relationship Id="rId2" Type="http://schemas.openxmlformats.org/officeDocument/2006/relationships/package" Target="../embeddings/Microsoft_Excel_Worksheet1811.xlsx"/></Relationships>
</file>

<file path=ppt/charts/_rels/chart1813.xml.rels><?xml version='1.0' encoding='UTF-8' standalone='yes'?>
<Relationships xmlns="http://schemas.openxmlformats.org/package/2006/relationships"><Relationship Id="rId1" Type="http://schemas.openxmlformats.org/officeDocument/2006/relationships/themeOverride" Target="../theme/themeOverride1813.xml"/><Relationship Id="rId2" Type="http://schemas.openxmlformats.org/officeDocument/2006/relationships/package" Target="../embeddings/Microsoft_Excel_Worksheet1812.xlsx"/></Relationships>
</file>

<file path=ppt/charts/_rels/chart1814.xml.rels><?xml version='1.0' encoding='UTF-8' standalone='yes'?>
<Relationships xmlns="http://schemas.openxmlformats.org/package/2006/relationships"><Relationship Id="rId1" Type="http://schemas.openxmlformats.org/officeDocument/2006/relationships/themeOverride" Target="../theme/themeOverride1814.xml"/><Relationship Id="rId2" Type="http://schemas.openxmlformats.org/officeDocument/2006/relationships/package" Target="../embeddings/Microsoft_Excel_Worksheet1813.xlsx"/></Relationships>
</file>

<file path=ppt/charts/_rels/chart1815.xml.rels><?xml version='1.0' encoding='UTF-8' standalone='yes'?>
<Relationships xmlns="http://schemas.openxmlformats.org/package/2006/relationships"><Relationship Id="rId1" Type="http://schemas.openxmlformats.org/officeDocument/2006/relationships/themeOverride" Target="../theme/themeOverride1815.xml"/><Relationship Id="rId2" Type="http://schemas.openxmlformats.org/officeDocument/2006/relationships/package" Target="../embeddings/Microsoft_Excel_Worksheet1814.xlsx"/></Relationships>
</file>

<file path=ppt/charts/_rels/chart1822.xml.rels><?xml version='1.0' encoding='UTF-8' standalone='yes'?>
<Relationships xmlns="http://schemas.openxmlformats.org/package/2006/relationships"><Relationship Id="rId1" Type="http://schemas.openxmlformats.org/officeDocument/2006/relationships/themeOverride" Target="../theme/themeOverride1822.xml"/><Relationship Id="rId2" Type="http://schemas.openxmlformats.org/officeDocument/2006/relationships/package" Target="../embeddings/Microsoft_Excel_Worksheet1821.xlsx"/></Relationships>
</file>

<file path=ppt/charts/_rels/chart1823.xml.rels><?xml version='1.0' encoding='UTF-8' standalone='yes'?>
<Relationships xmlns="http://schemas.openxmlformats.org/package/2006/relationships"><Relationship Id="rId1" Type="http://schemas.openxmlformats.org/officeDocument/2006/relationships/themeOverride" Target="../theme/themeOverride1823.xml"/><Relationship Id="rId2" Type="http://schemas.openxmlformats.org/officeDocument/2006/relationships/package" Target="../embeddings/Microsoft_Excel_Worksheet1822.xlsx"/></Relationships>
</file>

<file path=ppt/charts/_rels/chart1826.xml.rels><?xml version='1.0' encoding='UTF-8' standalone='yes'?>
<Relationships xmlns="http://schemas.openxmlformats.org/package/2006/relationships"><Relationship Id="rId1" Type="http://schemas.openxmlformats.org/officeDocument/2006/relationships/themeOverride" Target="../theme/themeOverride1826.xml"/><Relationship Id="rId2" Type="http://schemas.openxmlformats.org/officeDocument/2006/relationships/package" Target="../embeddings/Microsoft_Excel_Worksheet1825.xlsx"/></Relationships>
</file>

<file path=ppt/charts/_rels/chart1827.xml.rels><?xml version='1.0' encoding='UTF-8' standalone='yes'?>
<Relationships xmlns="http://schemas.openxmlformats.org/package/2006/relationships"><Relationship Id="rId1" Type="http://schemas.openxmlformats.org/officeDocument/2006/relationships/themeOverride" Target="../theme/themeOverride1827.xml"/><Relationship Id="rId2" Type="http://schemas.openxmlformats.org/officeDocument/2006/relationships/package" Target="../embeddings/Microsoft_Excel_Worksheet1826.xlsx"/></Relationships>
</file>

<file path=ppt/charts/_rels/chart1834.xml.rels><?xml version='1.0' encoding='UTF-8' standalone='yes'?>
<Relationships xmlns="http://schemas.openxmlformats.org/package/2006/relationships"><Relationship Id="rId1" Type="http://schemas.openxmlformats.org/officeDocument/2006/relationships/themeOverride" Target="../theme/themeOverride1834.xml"/><Relationship Id="rId2" Type="http://schemas.openxmlformats.org/officeDocument/2006/relationships/package" Target="../embeddings/Microsoft_Excel_Worksheet1833.xlsx"/></Relationships>
</file>

<file path=ppt/charts/_rels/chart1835.xml.rels><?xml version='1.0' encoding='UTF-8' standalone='yes'?>
<Relationships xmlns="http://schemas.openxmlformats.org/package/2006/relationships"><Relationship Id="rId1" Type="http://schemas.openxmlformats.org/officeDocument/2006/relationships/themeOverride" Target="../theme/themeOverride1835.xml"/><Relationship Id="rId2" Type="http://schemas.openxmlformats.org/officeDocument/2006/relationships/package" Target="../embeddings/Microsoft_Excel_Worksheet1834.xlsx"/></Relationships>
</file>

<file path=ppt/charts/_rels/chart1836.xml.rels><?xml version='1.0' encoding='UTF-8' standalone='yes'?>
<Relationships xmlns="http://schemas.openxmlformats.org/package/2006/relationships"><Relationship Id="rId1" Type="http://schemas.openxmlformats.org/officeDocument/2006/relationships/themeOverride" Target="../theme/themeOverride1836.xml"/><Relationship Id="rId2" Type="http://schemas.openxmlformats.org/officeDocument/2006/relationships/package" Target="../embeddings/Microsoft_Excel_Worksheet1835.xlsx"/></Relationships>
</file>

<file path=ppt/charts/_rels/chart1837.xml.rels><?xml version='1.0' encoding='UTF-8' standalone='yes'?>
<Relationships xmlns="http://schemas.openxmlformats.org/package/2006/relationships"><Relationship Id="rId1" Type="http://schemas.openxmlformats.org/officeDocument/2006/relationships/themeOverride" Target="../theme/themeOverride1837.xml"/><Relationship Id="rId2" Type="http://schemas.openxmlformats.org/officeDocument/2006/relationships/package" Target="../embeddings/Microsoft_Excel_Worksheet1836.xlsx"/></Relationships>
</file>

<file path=ppt/charts/_rels/chart1848.xml.rels><?xml version='1.0' encoding='UTF-8' standalone='yes'?>
<Relationships xmlns="http://schemas.openxmlformats.org/package/2006/relationships"><Relationship Id="rId1" Type="http://schemas.openxmlformats.org/officeDocument/2006/relationships/themeOverride" Target="../theme/themeOverride1848.xml"/><Relationship Id="rId2" Type="http://schemas.openxmlformats.org/officeDocument/2006/relationships/package" Target="../embeddings/Microsoft_Excel_Worksheet1847.xlsx"/></Relationships>
</file>

<file path=ppt/charts/_rels/chart1849.xml.rels><?xml version='1.0' encoding='UTF-8' standalone='yes'?>
<Relationships xmlns="http://schemas.openxmlformats.org/package/2006/relationships"><Relationship Id="rId1" Type="http://schemas.openxmlformats.org/officeDocument/2006/relationships/themeOverride" Target="../theme/themeOverride1849.xml"/><Relationship Id="rId2" Type="http://schemas.openxmlformats.org/officeDocument/2006/relationships/package" Target="../embeddings/Microsoft_Excel_Worksheet1848.xlsx"/></Relationships>
</file>

<file path=ppt/charts/_rels/chart1856.xml.rels><?xml version='1.0' encoding='UTF-8' standalone='yes'?>
<Relationships xmlns="http://schemas.openxmlformats.org/package/2006/relationships"><Relationship Id="rId1" Type="http://schemas.openxmlformats.org/officeDocument/2006/relationships/themeOverride" Target="../theme/themeOverride1856.xml"/><Relationship Id="rId2" Type="http://schemas.openxmlformats.org/officeDocument/2006/relationships/package" Target="../embeddings/Microsoft_Excel_Worksheet1855.xlsx"/></Relationships>
</file>

<file path=ppt/charts/_rels/chart1857.xml.rels><?xml version='1.0' encoding='UTF-8' standalone='yes'?>
<Relationships xmlns="http://schemas.openxmlformats.org/package/2006/relationships"><Relationship Id="rId1" Type="http://schemas.openxmlformats.org/officeDocument/2006/relationships/themeOverride" Target="../theme/themeOverride1857.xml"/><Relationship Id="rId2" Type="http://schemas.openxmlformats.org/officeDocument/2006/relationships/package" Target="../embeddings/Microsoft_Excel_Worksheet1856.xlsx"/></Relationships>
</file>

<file path=ppt/charts/_rels/chart1858.xml.rels><?xml version='1.0' encoding='UTF-8' standalone='yes'?>
<Relationships xmlns="http://schemas.openxmlformats.org/package/2006/relationships"><Relationship Id="rId1" Type="http://schemas.openxmlformats.org/officeDocument/2006/relationships/themeOverride" Target="../theme/themeOverride1858.xml"/><Relationship Id="rId2" Type="http://schemas.openxmlformats.org/officeDocument/2006/relationships/package" Target="../embeddings/Microsoft_Excel_Worksheet1857.xlsx"/></Relationships>
</file>

<file path=ppt/charts/_rels/chart1859.xml.rels><?xml version='1.0' encoding='UTF-8' standalone='yes'?>
<Relationships xmlns="http://schemas.openxmlformats.org/package/2006/relationships"><Relationship Id="rId1" Type="http://schemas.openxmlformats.org/officeDocument/2006/relationships/themeOverride" Target="../theme/themeOverride1859.xml"/><Relationship Id="rId2" Type="http://schemas.openxmlformats.org/officeDocument/2006/relationships/package" Target="../embeddings/Microsoft_Excel_Worksheet1858.xlsx"/></Relationships>
</file>

<file path=ppt/charts/_rels/chart186.xml.rels><?xml version='1.0' encoding='UTF-8' standalone='yes'?>
<Relationships xmlns="http://schemas.openxmlformats.org/package/2006/relationships"><Relationship Id="rId1" Type="http://schemas.openxmlformats.org/officeDocument/2006/relationships/themeOverride" Target="../theme/themeOverride186.xml"/><Relationship Id="rId2" Type="http://schemas.openxmlformats.org/officeDocument/2006/relationships/package" Target="../embeddings/Microsoft_Excel_Worksheet185.xlsx"/></Relationships>
</file>

<file path=ppt/charts/_rels/chart1868.xml.rels><?xml version='1.0' encoding='UTF-8' standalone='yes'?>
<Relationships xmlns="http://schemas.openxmlformats.org/package/2006/relationships"><Relationship Id="rId1" Type="http://schemas.openxmlformats.org/officeDocument/2006/relationships/themeOverride" Target="../theme/themeOverride1868.xml"/><Relationship Id="rId2" Type="http://schemas.openxmlformats.org/officeDocument/2006/relationships/package" Target="../embeddings/Microsoft_Excel_Worksheet1867.xlsx"/></Relationships>
</file>

<file path=ppt/charts/_rels/chart1869.xml.rels><?xml version='1.0' encoding='UTF-8' standalone='yes'?>
<Relationships xmlns="http://schemas.openxmlformats.org/package/2006/relationships"><Relationship Id="rId1" Type="http://schemas.openxmlformats.org/officeDocument/2006/relationships/themeOverride" Target="../theme/themeOverride1869.xml"/><Relationship Id="rId2" Type="http://schemas.openxmlformats.org/officeDocument/2006/relationships/package" Target="../embeddings/Microsoft_Excel_Worksheet1868.xlsx"/></Relationships>
</file>

<file path=ppt/charts/_rels/chart187.xml.rels><?xml version='1.0' encoding='UTF-8' standalone='yes'?>
<Relationships xmlns="http://schemas.openxmlformats.org/package/2006/relationships"><Relationship Id="rId1" Type="http://schemas.openxmlformats.org/officeDocument/2006/relationships/themeOverride" Target="../theme/themeOverride187.xml"/><Relationship Id="rId2" Type="http://schemas.openxmlformats.org/officeDocument/2006/relationships/package" Target="../embeddings/Microsoft_Excel_Worksheet186.xlsx"/></Relationships>
</file>

<file path=ppt/charts/_rels/chart1876.xml.rels><?xml version='1.0' encoding='UTF-8' standalone='yes'?>
<Relationships xmlns="http://schemas.openxmlformats.org/package/2006/relationships"><Relationship Id="rId1" Type="http://schemas.openxmlformats.org/officeDocument/2006/relationships/themeOverride" Target="../theme/themeOverride1876.xml"/><Relationship Id="rId2" Type="http://schemas.openxmlformats.org/officeDocument/2006/relationships/package" Target="../embeddings/Microsoft_Excel_Worksheet1875.xlsx"/></Relationships>
</file>

<file path=ppt/charts/_rels/chart1877.xml.rels><?xml version='1.0' encoding='UTF-8' standalone='yes'?>
<Relationships xmlns="http://schemas.openxmlformats.org/package/2006/relationships"><Relationship Id="rId1" Type="http://schemas.openxmlformats.org/officeDocument/2006/relationships/themeOverride" Target="../theme/themeOverride1877.xml"/><Relationship Id="rId2" Type="http://schemas.openxmlformats.org/officeDocument/2006/relationships/package" Target="../embeddings/Microsoft_Excel_Worksheet1876.xlsx"/></Relationships>
</file>

<file path=ppt/charts/_rels/chart188.xml.rels><?xml version='1.0' encoding='UTF-8' standalone='yes'?>
<Relationships xmlns="http://schemas.openxmlformats.org/package/2006/relationships"><Relationship Id="rId1" Type="http://schemas.openxmlformats.org/officeDocument/2006/relationships/themeOverride" Target="../theme/themeOverride188.xml"/><Relationship Id="rId2"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themeOverride" Target="../theme/themeOverride189.xml"/><Relationship Id="rId2" Type="http://schemas.openxmlformats.org/officeDocument/2006/relationships/package" Target="../embeddings/Microsoft_Excel_Worksheet188.xlsx"/></Relationships>
</file>

<file path=ppt/charts/_rels/chart1890.xml.rels><?xml version='1.0' encoding='UTF-8' standalone='yes'?>
<Relationships xmlns="http://schemas.openxmlformats.org/package/2006/relationships"><Relationship Id="rId1" Type="http://schemas.openxmlformats.org/officeDocument/2006/relationships/themeOverride" Target="../theme/themeOverride1890.xml"/><Relationship Id="rId2" Type="http://schemas.openxmlformats.org/officeDocument/2006/relationships/package" Target="../embeddings/Microsoft_Excel_Worksheet1889.xlsx"/></Relationships>
</file>

<file path=ppt/charts/_rels/chart1891.xml.rels><?xml version='1.0' encoding='UTF-8' standalone='yes'?>
<Relationships xmlns="http://schemas.openxmlformats.org/package/2006/relationships"><Relationship Id="rId1" Type="http://schemas.openxmlformats.org/officeDocument/2006/relationships/themeOverride" Target="../theme/themeOverride1891.xml"/><Relationship Id="rId2" Type="http://schemas.openxmlformats.org/officeDocument/2006/relationships/package" Target="../embeddings/Microsoft_Excel_Worksheet1890.xlsx"/></Relationships>
</file>

<file path=ppt/charts/_rels/chart1898.xml.rels><?xml version='1.0' encoding='UTF-8' standalone='yes'?>
<Relationships xmlns="http://schemas.openxmlformats.org/package/2006/relationships"><Relationship Id="rId1" Type="http://schemas.openxmlformats.org/officeDocument/2006/relationships/themeOverride" Target="../theme/themeOverride1898.xml"/><Relationship Id="rId2" Type="http://schemas.openxmlformats.org/officeDocument/2006/relationships/package" Target="../embeddings/Microsoft_Excel_Worksheet1897.xlsx"/></Relationships>
</file>

<file path=ppt/charts/_rels/chart1899.xml.rels><?xml version='1.0' encoding='UTF-8' standalone='yes'?>
<Relationships xmlns="http://schemas.openxmlformats.org/package/2006/relationships"><Relationship Id="rId1" Type="http://schemas.openxmlformats.org/officeDocument/2006/relationships/themeOverride" Target="../theme/themeOverride1899.xml"/><Relationship Id="rId2" Type="http://schemas.openxmlformats.org/officeDocument/2006/relationships/package" Target="../embeddings/Microsoft_Excel_Worksheet1898.xlsx"/></Relationships>
</file>

<file path=ppt/charts/_rels/chart190.xml.rels><?xml version='1.0' encoding='UTF-8' standalone='yes'?>
<Relationships xmlns="http://schemas.openxmlformats.org/package/2006/relationships"><Relationship Id="rId1" Type="http://schemas.openxmlformats.org/officeDocument/2006/relationships/themeOverride" Target="../theme/themeOverride190.xml"/><Relationship Id="rId2" Type="http://schemas.openxmlformats.org/officeDocument/2006/relationships/package" Target="../embeddings/Microsoft_Excel_Worksheet189.xlsx"/></Relationships>
</file>

<file path=ppt/charts/_rels/chart1904.xml.rels><?xml version='1.0' encoding='UTF-8' standalone='yes'?>
<Relationships xmlns="http://schemas.openxmlformats.org/package/2006/relationships"><Relationship Id="rId1" Type="http://schemas.openxmlformats.org/officeDocument/2006/relationships/themeOverride" Target="../theme/themeOverride1904.xml"/><Relationship Id="rId2" Type="http://schemas.openxmlformats.org/officeDocument/2006/relationships/package" Target="../embeddings/Microsoft_Excel_Worksheet1903.xlsx"/></Relationships>
</file>

<file path=ppt/charts/_rels/chart1905.xml.rels><?xml version='1.0' encoding='UTF-8' standalone='yes'?>
<Relationships xmlns="http://schemas.openxmlformats.org/package/2006/relationships"><Relationship Id="rId1" Type="http://schemas.openxmlformats.org/officeDocument/2006/relationships/themeOverride" Target="../theme/themeOverride1905.xml"/><Relationship Id="rId2" Type="http://schemas.openxmlformats.org/officeDocument/2006/relationships/package" Target="../embeddings/Microsoft_Excel_Worksheet1904.xlsx"/></Relationships>
</file>

<file path=ppt/charts/_rels/chart191.xml.rels><?xml version='1.0' encoding='UTF-8' standalone='yes'?>
<Relationships xmlns="http://schemas.openxmlformats.org/package/2006/relationships"><Relationship Id="rId1" Type="http://schemas.openxmlformats.org/officeDocument/2006/relationships/themeOverride" Target="../theme/themeOverride191.xml"/><Relationship Id="rId2" Type="http://schemas.openxmlformats.org/officeDocument/2006/relationships/package" Target="../embeddings/Microsoft_Excel_Worksheet190.xlsx"/></Relationships>
</file>

<file path=ppt/charts/_rels/chart1912.xml.rels><?xml version='1.0' encoding='UTF-8' standalone='yes'?>
<Relationships xmlns="http://schemas.openxmlformats.org/package/2006/relationships"><Relationship Id="rId1" Type="http://schemas.openxmlformats.org/officeDocument/2006/relationships/themeOverride" Target="../theme/themeOverride1912.xml"/><Relationship Id="rId2" Type="http://schemas.openxmlformats.org/officeDocument/2006/relationships/package" Target="../embeddings/Microsoft_Excel_Worksheet1911.xlsx"/></Relationships>
</file>

<file path=ppt/charts/_rels/chart1913.xml.rels><?xml version='1.0' encoding='UTF-8' standalone='yes'?>
<Relationships xmlns="http://schemas.openxmlformats.org/package/2006/relationships"><Relationship Id="rId1" Type="http://schemas.openxmlformats.org/officeDocument/2006/relationships/themeOverride" Target="../theme/themeOverride1913.xml"/><Relationship Id="rId2" Type="http://schemas.openxmlformats.org/officeDocument/2006/relationships/package" Target="../embeddings/Microsoft_Excel_Worksheet1912.xlsx"/></Relationships>
</file>

<file path=ppt/charts/_rels/chart192.xml.rels><?xml version='1.0' encoding='UTF-8' standalone='yes'?>
<Relationships xmlns="http://schemas.openxmlformats.org/package/2006/relationships"><Relationship Id="rId1" Type="http://schemas.openxmlformats.org/officeDocument/2006/relationships/themeOverride" Target="../theme/themeOverride192.xml"/><Relationship Id="rId2" Type="http://schemas.openxmlformats.org/officeDocument/2006/relationships/package" Target="../embeddings/Microsoft_Excel_Worksheet191.xlsx"/></Relationships>
</file>

<file path=ppt/charts/_rels/chart1920.xml.rels><?xml version='1.0' encoding='UTF-8' standalone='yes'?>
<Relationships xmlns="http://schemas.openxmlformats.org/package/2006/relationships"><Relationship Id="rId1" Type="http://schemas.openxmlformats.org/officeDocument/2006/relationships/themeOverride" Target="../theme/themeOverride1920.xml"/><Relationship Id="rId2" Type="http://schemas.openxmlformats.org/officeDocument/2006/relationships/package" Target="../embeddings/Microsoft_Excel_Worksheet1919.xlsx"/></Relationships>
</file>

<file path=ppt/charts/_rels/chart1921.xml.rels><?xml version='1.0' encoding='UTF-8' standalone='yes'?>
<Relationships xmlns="http://schemas.openxmlformats.org/package/2006/relationships"><Relationship Id="rId1" Type="http://schemas.openxmlformats.org/officeDocument/2006/relationships/themeOverride" Target="../theme/themeOverride1921.xml"/><Relationship Id="rId2" Type="http://schemas.openxmlformats.org/officeDocument/2006/relationships/package" Target="../embeddings/Microsoft_Excel_Worksheet1920.xlsx"/></Relationships>
</file>

<file path=ppt/charts/_rels/chart1922.xml.rels><?xml version='1.0' encoding='UTF-8' standalone='yes'?>
<Relationships xmlns="http://schemas.openxmlformats.org/package/2006/relationships"><Relationship Id="rId1" Type="http://schemas.openxmlformats.org/officeDocument/2006/relationships/themeOverride" Target="../theme/themeOverride1922.xml"/><Relationship Id="rId2" Type="http://schemas.openxmlformats.org/officeDocument/2006/relationships/package" Target="../embeddings/Microsoft_Excel_Worksheet1921.xlsx"/></Relationships>
</file>

<file path=ppt/charts/_rels/chart1923.xml.rels><?xml version='1.0' encoding='UTF-8' standalone='yes'?>
<Relationships xmlns="http://schemas.openxmlformats.org/package/2006/relationships"><Relationship Id="rId1" Type="http://schemas.openxmlformats.org/officeDocument/2006/relationships/themeOverride" Target="../theme/themeOverride1923.xml"/><Relationship Id="rId2" Type="http://schemas.openxmlformats.org/officeDocument/2006/relationships/package" Target="../embeddings/Microsoft_Excel_Worksheet1922.xlsx"/></Relationships>
</file>

<file path=ppt/charts/_rels/chart1924.xml.rels><?xml version='1.0' encoding='UTF-8' standalone='yes'?>
<Relationships xmlns="http://schemas.openxmlformats.org/package/2006/relationships"><Relationship Id="rId1" Type="http://schemas.openxmlformats.org/officeDocument/2006/relationships/themeOverride" Target="../theme/themeOverride1924.xml"/><Relationship Id="rId2" Type="http://schemas.openxmlformats.org/officeDocument/2006/relationships/package" Target="../embeddings/Microsoft_Excel_Worksheet1923.xlsx"/></Relationships>
</file>

<file path=ppt/charts/_rels/chart1925.xml.rels><?xml version='1.0' encoding='UTF-8' standalone='yes'?>
<Relationships xmlns="http://schemas.openxmlformats.org/package/2006/relationships"><Relationship Id="rId1" Type="http://schemas.openxmlformats.org/officeDocument/2006/relationships/themeOverride" Target="../theme/themeOverride1925.xml"/><Relationship Id="rId2" Type="http://schemas.openxmlformats.org/officeDocument/2006/relationships/package" Target="../embeddings/Microsoft_Excel_Worksheet1924.xlsx"/></Relationships>
</file>

<file path=ppt/charts/_rels/chart1926.xml.rels><?xml version='1.0' encoding='UTF-8' standalone='yes'?>
<Relationships xmlns="http://schemas.openxmlformats.org/package/2006/relationships"><Relationship Id="rId1" Type="http://schemas.openxmlformats.org/officeDocument/2006/relationships/themeOverride" Target="../theme/themeOverride1926.xml"/><Relationship Id="rId2" Type="http://schemas.openxmlformats.org/officeDocument/2006/relationships/package" Target="../embeddings/Microsoft_Excel_Worksheet1925.xlsx"/></Relationships>
</file>

<file path=ppt/charts/_rels/chart1927.xml.rels><?xml version='1.0' encoding='UTF-8' standalone='yes'?>
<Relationships xmlns="http://schemas.openxmlformats.org/package/2006/relationships"><Relationship Id="rId1" Type="http://schemas.openxmlformats.org/officeDocument/2006/relationships/themeOverride" Target="../theme/themeOverride1927.xml"/><Relationship Id="rId2" Type="http://schemas.openxmlformats.org/officeDocument/2006/relationships/package" Target="../embeddings/Microsoft_Excel_Worksheet1926.xlsx"/></Relationships>
</file>

<file path=ppt/charts/_rels/chart193.xml.rels><?xml version='1.0' encoding='UTF-8' standalone='yes'?>
<Relationships xmlns="http://schemas.openxmlformats.org/package/2006/relationships"><Relationship Id="rId1" Type="http://schemas.openxmlformats.org/officeDocument/2006/relationships/themeOverride" Target="../theme/themeOverride193.xml"/><Relationship Id="rId2" Type="http://schemas.openxmlformats.org/officeDocument/2006/relationships/package" Target="../embeddings/Microsoft_Excel_Worksheet192.xlsx"/></Relationships>
</file>

<file path=ppt/charts/_rels/chart1934.xml.rels><?xml version='1.0' encoding='UTF-8' standalone='yes'?>
<Relationships xmlns="http://schemas.openxmlformats.org/package/2006/relationships"><Relationship Id="rId1" Type="http://schemas.openxmlformats.org/officeDocument/2006/relationships/themeOverride" Target="../theme/themeOverride1934.xml"/><Relationship Id="rId2" Type="http://schemas.openxmlformats.org/officeDocument/2006/relationships/package" Target="../embeddings/Microsoft_Excel_Worksheet1933.xlsx"/></Relationships>
</file>

<file path=ppt/charts/_rels/chart1935.xml.rels><?xml version='1.0' encoding='UTF-8' standalone='yes'?>
<Relationships xmlns="http://schemas.openxmlformats.org/package/2006/relationships"><Relationship Id="rId1" Type="http://schemas.openxmlformats.org/officeDocument/2006/relationships/themeOverride" Target="../theme/themeOverride1935.xml"/><Relationship Id="rId2" Type="http://schemas.openxmlformats.org/officeDocument/2006/relationships/package" Target="../embeddings/Microsoft_Excel_Worksheet1934.xlsx"/></Relationships>
</file>

<file path=ppt/charts/_rels/chart194.xml.rels><?xml version='1.0' encoding='UTF-8' standalone='yes'?>
<Relationships xmlns="http://schemas.openxmlformats.org/package/2006/relationships"><Relationship Id="rId1" Type="http://schemas.openxmlformats.org/officeDocument/2006/relationships/themeOverride" Target="../theme/themeOverride194.xml"/><Relationship Id="rId2"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themeOverride" Target="../theme/themeOverride195.xml"/><Relationship Id="rId2" Type="http://schemas.openxmlformats.org/officeDocument/2006/relationships/package" Target="../embeddings/Microsoft_Excel_Worksheet194.xlsx"/></Relationships>
</file>

<file path=ppt/charts/_rels/chart1954.xml.rels><?xml version='1.0' encoding='UTF-8' standalone='yes'?>
<Relationships xmlns="http://schemas.openxmlformats.org/package/2006/relationships"><Relationship Id="rId1" Type="http://schemas.openxmlformats.org/officeDocument/2006/relationships/themeOverride" Target="../theme/themeOverride1948.xml"/><Relationship Id="rId2" Type="http://schemas.openxmlformats.org/officeDocument/2006/relationships/package" Target="../embeddings/Microsoft_Excel_Worksheet1953.xlsx"/></Relationships>
</file>

<file path=ppt/charts/_rels/chart1955.xml.rels><?xml version='1.0' encoding='UTF-8' standalone='yes'?>
<Relationships xmlns="http://schemas.openxmlformats.org/package/2006/relationships"><Relationship Id="rId1" Type="http://schemas.openxmlformats.org/officeDocument/2006/relationships/themeOverride" Target="../theme/themeOverride1949.xml"/><Relationship Id="rId2" Type="http://schemas.openxmlformats.org/officeDocument/2006/relationships/package" Target="../embeddings/Microsoft_Excel_Worksheet1954.xlsx"/></Relationships>
</file>

<file path=ppt/charts/_rels/chart1956.xml.rels><?xml version='1.0' encoding='UTF-8' standalone='yes'?>
<Relationships xmlns="http://schemas.openxmlformats.org/package/2006/relationships"><Relationship Id="rId1" Type="http://schemas.openxmlformats.org/officeDocument/2006/relationships/themeOverride" Target="../theme/themeOverride1950.xml"/><Relationship Id="rId2" Type="http://schemas.openxmlformats.org/officeDocument/2006/relationships/package" Target="../embeddings/Microsoft_Excel_Worksheet1955.xlsx"/></Relationships>
</file>

<file path=ppt/charts/_rels/chart1957.xml.rels><?xml version='1.0' encoding='UTF-8' standalone='yes'?>
<Relationships xmlns="http://schemas.openxmlformats.org/package/2006/relationships"><Relationship Id="rId1" Type="http://schemas.openxmlformats.org/officeDocument/2006/relationships/themeOverride" Target="../theme/themeOverride1951.xml"/><Relationship Id="rId2" Type="http://schemas.openxmlformats.org/officeDocument/2006/relationships/package" Target="../embeddings/Microsoft_Excel_Worksheet1956.xlsx"/></Relationships>
</file>

<file path=ppt/charts/_rels/chart1958.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1957.xlsx"/></Relationships>
</file>

<file path=ppt/charts/_rels/chart1959.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1958.xlsx"/></Relationships>
</file>

<file path=ppt/charts/_rels/chart1966.xml.rels><?xml version='1.0' encoding='UTF-8' standalone='yes'?>
<Relationships xmlns="http://schemas.openxmlformats.org/package/2006/relationships"><Relationship Id="rId1" Type="http://schemas.openxmlformats.org/officeDocument/2006/relationships/themeOverride" Target="../theme/themeOverride1956.xml"/><Relationship Id="rId2" Type="http://schemas.openxmlformats.org/officeDocument/2006/relationships/package" Target="../embeddings/Microsoft_Excel_Worksheet1965.xlsx"/></Relationships>
</file>

<file path=ppt/charts/_rels/chart1967.xml.rels><?xml version='1.0' encoding='UTF-8' standalone='yes'?>
<Relationships xmlns="http://schemas.openxmlformats.org/package/2006/relationships"><Relationship Id="rId1" Type="http://schemas.openxmlformats.org/officeDocument/2006/relationships/themeOverride" Target="../theme/themeOverride1957.xml"/><Relationship Id="rId2" Type="http://schemas.openxmlformats.org/officeDocument/2006/relationships/package" Target="../embeddings/Microsoft_Excel_Worksheet1966.xlsx"/></Relationships>
</file>

<file path=ppt/charts/_rels/chart1968.xml.rels><?xml version='1.0' encoding='UTF-8' standalone='yes'?>
<Relationships xmlns="http://schemas.openxmlformats.org/package/2006/relationships"><Relationship Id="rId1" Type="http://schemas.openxmlformats.org/officeDocument/2006/relationships/themeOverride" Target="../theme/themeOverride1958.xml"/><Relationship Id="rId2" Type="http://schemas.openxmlformats.org/officeDocument/2006/relationships/package" Target="../embeddings/Microsoft_Excel_Worksheet1967.xlsx"/></Relationships>
</file>

<file path=ppt/charts/_rels/chart1969.xml.rels><?xml version='1.0' encoding='UTF-8' standalone='yes'?>
<Relationships xmlns="http://schemas.openxmlformats.org/package/2006/relationships"><Relationship Id="rId1" Type="http://schemas.openxmlformats.org/officeDocument/2006/relationships/themeOverride" Target="../theme/themeOverride1959.xml"/><Relationship Id="rId2" Type="http://schemas.openxmlformats.org/officeDocument/2006/relationships/package" Target="../embeddings/Microsoft_Excel_Worksheet1968.xlsx"/></Relationships>
</file>

<file path=ppt/charts/_rels/chart1970.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969.xlsx"/></Relationships>
</file>

<file path=ppt/charts/_rels/chart1971.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970.xlsx"/></Relationships>
</file>

<file path=ppt/charts/_rels/chart1972.xml.rels><?xml version='1.0' encoding='UTF-8' standalone='yes'?>
<Relationships xmlns="http://schemas.openxmlformats.org/package/2006/relationships"><Relationship Id="rId1" Type="http://schemas.openxmlformats.org/officeDocument/2006/relationships/themeOverride" Target="../theme/themeOverride1960.xml"/><Relationship Id="rId2" Type="http://schemas.openxmlformats.org/officeDocument/2006/relationships/package" Target="../embeddings/Microsoft_Excel_Worksheet1971.xlsx"/></Relationships>
</file>

<file path=ppt/charts/_rels/chart1973.xml.rels><?xml version='1.0' encoding='UTF-8' standalone='yes'?>
<Relationships xmlns="http://schemas.openxmlformats.org/package/2006/relationships"><Relationship Id="rId1" Type="http://schemas.openxmlformats.org/officeDocument/2006/relationships/themeOverride" Target="../theme/themeOverride1961.xml"/><Relationship Id="rId2" Type="http://schemas.openxmlformats.org/officeDocument/2006/relationships/package" Target="../embeddings/Microsoft_Excel_Worksheet1972.xlsx"/></Relationships>
</file>

<file path=ppt/charts/_rels/chart1974.xml.rels><?xml version='1.0' encoding='UTF-8' standalone='yes'?>
<Relationships xmlns="http://schemas.openxmlformats.org/package/2006/relationships"><Relationship Id="rId1" Type="http://schemas.openxmlformats.org/officeDocument/2006/relationships/themeOverride" Target="../theme/themeOverride1962.xml"/><Relationship Id="rId2" Type="http://schemas.openxmlformats.org/officeDocument/2006/relationships/package" Target="../embeddings/Microsoft_Excel_Worksheet1973.xlsx"/></Relationships>
</file>

<file path=ppt/charts/_rels/chart1975.xml.rels><?xml version='1.0' encoding='UTF-8' standalone='yes'?>
<Relationships xmlns="http://schemas.openxmlformats.org/package/2006/relationships"><Relationship Id="rId1" Type="http://schemas.openxmlformats.org/officeDocument/2006/relationships/themeOverride" Target="../theme/themeOverride1963.xml"/><Relationship Id="rId2" Type="http://schemas.openxmlformats.org/officeDocument/2006/relationships/package" Target="../embeddings/Microsoft_Excel_Worksheet1974.xlsx"/></Relationships>
</file>

<file path=ppt/charts/_rels/chart1976.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975.xlsx"/></Relationships>
</file>

<file path=ppt/charts/_rels/chart1977.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976.xlsx"/></Relationships>
</file>

<file path=ppt/charts/_rels/chart1996.xml.rels><?xml version='1.0' encoding='UTF-8' standalone='yes'?>
<Relationships xmlns="http://schemas.openxmlformats.org/package/2006/relationships"><Relationship Id="rId1" Type="http://schemas.openxmlformats.org/officeDocument/2006/relationships/themeOverride" Target="../theme/themeOverride1976.xml"/><Relationship Id="rId2" Type="http://schemas.openxmlformats.org/officeDocument/2006/relationships/package" Target="../embeddings/Microsoft_Excel_Worksheet1995.xlsx"/></Relationships>
</file>

<file path=ppt/charts/_rels/chart1997.xml.rels><?xml version='1.0' encoding='UTF-8' standalone='yes'?>
<Relationships xmlns="http://schemas.openxmlformats.org/package/2006/relationships"><Relationship Id="rId1" Type="http://schemas.openxmlformats.org/officeDocument/2006/relationships/themeOverride" Target="../theme/themeOverride1977.xml"/><Relationship Id="rId2" Type="http://schemas.openxmlformats.org/officeDocument/2006/relationships/package" Target="../embeddings/Microsoft_Excel_Worksheet1996.xlsx"/></Relationships>
</file>

<file path=ppt/charts/_rels/chart1998.xml.rels><?xml version='1.0' encoding='UTF-8' standalone='yes'?>
<Relationships xmlns="http://schemas.openxmlformats.org/package/2006/relationships"><Relationship Id="rId1" Type="http://schemas.openxmlformats.org/officeDocument/2006/relationships/themeOverride" Target="../theme/themeOverride1978.xml"/><Relationship Id="rId2" Type="http://schemas.openxmlformats.org/officeDocument/2006/relationships/package" Target="../embeddings/Microsoft_Excel_Worksheet1997.xlsx"/></Relationships>
</file>

<file path=ppt/charts/_rels/chart1999.xml.rels><?xml version='1.0' encoding='UTF-8' standalone='yes'?>
<Relationships xmlns="http://schemas.openxmlformats.org/package/2006/relationships"><Relationship Id="rId1" Type="http://schemas.openxmlformats.org/officeDocument/2006/relationships/themeOverride" Target="../theme/themeOverride1979.xml"/><Relationship Id="rId2" Type="http://schemas.openxmlformats.org/officeDocument/2006/relationships/package" Target="../embeddings/Microsoft_Excel_Worksheet1998.xlsx"/></Relationships>
</file>

<file path=ppt/charts/_rels/chart2000.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1999.xlsx"/></Relationships>
</file>

<file path=ppt/charts/_rels/chart2001.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000.xlsx"/></Relationships>
</file>

<file path=ppt/charts/_rels/chart2032.xml.rels><?xml version='1.0' encoding='UTF-8' standalone='yes'?>
<Relationships xmlns="http://schemas.openxmlformats.org/package/2006/relationships"><Relationship Id="rId1" Type="http://schemas.openxmlformats.org/officeDocument/2006/relationships/themeOverride" Target="../theme/themeOverride2000.xml"/><Relationship Id="rId2" Type="http://schemas.openxmlformats.org/officeDocument/2006/relationships/package" Target="../embeddings/Microsoft_Excel_Worksheet2031.xlsx"/></Relationships>
</file>

<file path=ppt/charts/_rels/chart2033.xml.rels><?xml version='1.0' encoding='UTF-8' standalone='yes'?>
<Relationships xmlns="http://schemas.openxmlformats.org/package/2006/relationships"><Relationship Id="rId1" Type="http://schemas.openxmlformats.org/officeDocument/2006/relationships/themeOverride" Target="../theme/themeOverride2001.xml"/><Relationship Id="rId2" Type="http://schemas.openxmlformats.org/officeDocument/2006/relationships/package" Target="../embeddings/Microsoft_Excel_Worksheet2032.xlsx"/></Relationships>
</file>

<file path=ppt/charts/_rels/chart2034.xml.rels><?xml version='1.0' encoding='UTF-8' standalone='yes'?>
<Relationships xmlns="http://schemas.openxmlformats.org/package/2006/relationships"><Relationship Id="rId1" Type="http://schemas.openxmlformats.org/officeDocument/2006/relationships/themeOverride" Target="../theme/themeOverride2002.xml"/><Relationship Id="rId2" Type="http://schemas.openxmlformats.org/officeDocument/2006/relationships/package" Target="../embeddings/Microsoft_Excel_Worksheet2033.xlsx"/></Relationships>
</file>

<file path=ppt/charts/_rels/chart2035.xml.rels><?xml version='1.0' encoding='UTF-8' standalone='yes'?>
<Relationships xmlns="http://schemas.openxmlformats.org/package/2006/relationships"><Relationship Id="rId1" Type="http://schemas.openxmlformats.org/officeDocument/2006/relationships/themeOverride" Target="../theme/themeOverride2003.xml"/><Relationship Id="rId2" Type="http://schemas.openxmlformats.org/officeDocument/2006/relationships/package" Target="../embeddings/Microsoft_Excel_Worksheet2034.xlsx"/></Relationships>
</file>

<file path=ppt/charts/_rels/chart2036.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035.xlsx"/></Relationships>
</file>

<file path=ppt/charts/_rels/chart2037.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036.xlsx"/></Relationships>
</file>

<file path=ppt/charts/_rels/chart2038.xml.rels><?xml version='1.0' encoding='UTF-8' standalone='yes'?>
<Relationships xmlns="http://schemas.openxmlformats.org/package/2006/relationships"><Relationship Id="rId1" Type="http://schemas.openxmlformats.org/officeDocument/2006/relationships/themeOverride" Target="../theme/themeOverride2004.xml"/><Relationship Id="rId2" Type="http://schemas.openxmlformats.org/officeDocument/2006/relationships/package" Target="../embeddings/Microsoft_Excel_Worksheet2037.xlsx"/></Relationships>
</file>

<file path=ppt/charts/_rels/chart2039.xml.rels><?xml version='1.0' encoding='UTF-8' standalone='yes'?>
<Relationships xmlns="http://schemas.openxmlformats.org/package/2006/relationships"><Relationship Id="rId1" Type="http://schemas.openxmlformats.org/officeDocument/2006/relationships/themeOverride" Target="../theme/themeOverride2005.xml"/><Relationship Id="rId2" Type="http://schemas.openxmlformats.org/officeDocument/2006/relationships/package" Target="../embeddings/Microsoft_Excel_Worksheet2038.xlsx"/></Relationships>
</file>

<file path=ppt/charts/_rels/chart2040.xml.rels><?xml version='1.0' encoding='UTF-8' standalone='yes'?>
<Relationships xmlns="http://schemas.openxmlformats.org/package/2006/relationships"><Relationship Id="rId1" Type="http://schemas.openxmlformats.org/officeDocument/2006/relationships/themeOverride" Target="../theme/themeOverride2006.xml"/><Relationship Id="rId2" Type="http://schemas.openxmlformats.org/officeDocument/2006/relationships/package" Target="../embeddings/Microsoft_Excel_Worksheet2039.xlsx"/></Relationships>
</file>

<file path=ppt/charts/_rels/chart2041.xml.rels><?xml version='1.0' encoding='UTF-8' standalone='yes'?>
<Relationships xmlns="http://schemas.openxmlformats.org/package/2006/relationships"><Relationship Id="rId1" Type="http://schemas.openxmlformats.org/officeDocument/2006/relationships/themeOverride" Target="../theme/themeOverride2007.xml"/><Relationship Id="rId2" Type="http://schemas.openxmlformats.org/officeDocument/2006/relationships/package" Target="../embeddings/Microsoft_Excel_Worksheet2040.xlsx"/></Relationships>
</file>

<file path=ppt/charts/_rels/chart2042.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2041.xlsx"/></Relationships>
</file>

<file path=ppt/charts/_rels/chart2043.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2042.xlsx"/></Relationships>
</file>

<file path=ppt/charts/_rels/chart2062.xml.rels><?xml version='1.0' encoding='UTF-8' standalone='yes'?>
<Relationships xmlns="http://schemas.openxmlformats.org/package/2006/relationships"><Relationship Id="rId1" Type="http://schemas.openxmlformats.org/officeDocument/2006/relationships/themeOverride" Target="../theme/themeOverride2020.xml"/><Relationship Id="rId2" Type="http://schemas.openxmlformats.org/officeDocument/2006/relationships/package" Target="../embeddings/Microsoft_Excel_Worksheet2061.xlsx"/></Relationships>
</file>

<file path=ppt/charts/_rels/chart2063.xml.rels><?xml version='1.0' encoding='UTF-8' standalone='yes'?>
<Relationships xmlns="http://schemas.openxmlformats.org/package/2006/relationships"><Relationship Id="rId1" Type="http://schemas.openxmlformats.org/officeDocument/2006/relationships/themeOverride" Target="../theme/themeOverride2021.xml"/><Relationship Id="rId2" Type="http://schemas.openxmlformats.org/officeDocument/2006/relationships/package" Target="../embeddings/Microsoft_Excel_Worksheet2062.xlsx"/></Relationships>
</file>

<file path=ppt/charts/_rels/chart2064.xml.rels><?xml version='1.0' encoding='UTF-8' standalone='yes'?>
<Relationships xmlns="http://schemas.openxmlformats.org/package/2006/relationships"><Relationship Id="rId1" Type="http://schemas.openxmlformats.org/officeDocument/2006/relationships/themeOverride" Target="../theme/themeOverride2022.xml"/><Relationship Id="rId2" Type="http://schemas.openxmlformats.org/officeDocument/2006/relationships/package" Target="../embeddings/Microsoft_Excel_Worksheet2063.xlsx"/></Relationships>
</file>

<file path=ppt/charts/_rels/chart2065.xml.rels><?xml version='1.0' encoding='UTF-8' standalone='yes'?>
<Relationships xmlns="http://schemas.openxmlformats.org/package/2006/relationships"><Relationship Id="rId1" Type="http://schemas.openxmlformats.org/officeDocument/2006/relationships/themeOverride" Target="../theme/themeOverride2023.xml"/><Relationship Id="rId2" Type="http://schemas.openxmlformats.org/officeDocument/2006/relationships/package" Target="../embeddings/Microsoft_Excel_Worksheet2064.xlsx"/></Relationships>
</file>

<file path=ppt/charts/_rels/chart2066.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065.xlsx"/></Relationships>
</file>

<file path=ppt/charts/_rels/chart2067.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066.xlsx"/></Relationships>
</file>

<file path=ppt/charts/_rels/chart2098.xml.rels><?xml version='1.0' encoding='UTF-8' standalone='yes'?>
<Relationships xmlns="http://schemas.openxmlformats.org/package/2006/relationships"><Relationship Id="rId1" Type="http://schemas.openxmlformats.org/officeDocument/2006/relationships/themeOverride" Target="../theme/themeOverride2044.xml"/><Relationship Id="rId2" Type="http://schemas.openxmlformats.org/officeDocument/2006/relationships/package" Target="../embeddings/Microsoft_Excel_Worksheet2097.xlsx"/></Relationships>
</file>

<file path=ppt/charts/_rels/chart2099.xml.rels><?xml version='1.0' encoding='UTF-8' standalone='yes'?>
<Relationships xmlns="http://schemas.openxmlformats.org/package/2006/relationships"><Relationship Id="rId1" Type="http://schemas.openxmlformats.org/officeDocument/2006/relationships/themeOverride" Target="../theme/themeOverride2045.xml"/><Relationship Id="rId2" Type="http://schemas.openxmlformats.org/officeDocument/2006/relationships/package" Target="../embeddings/Microsoft_Excel_Worksheet2098.xlsx"/></Relationships>
</file>

<file path=ppt/charts/_rels/chart2100.xml.rels><?xml version='1.0' encoding='UTF-8' standalone='yes'?>
<Relationships xmlns="http://schemas.openxmlformats.org/package/2006/relationships"><Relationship Id="rId1" Type="http://schemas.openxmlformats.org/officeDocument/2006/relationships/themeOverride" Target="../theme/themeOverride2046.xml"/><Relationship Id="rId2" Type="http://schemas.openxmlformats.org/officeDocument/2006/relationships/package" Target="../embeddings/Microsoft_Excel_Worksheet2099.xlsx"/></Relationships>
</file>

<file path=ppt/charts/_rels/chart2101.xml.rels><?xml version='1.0' encoding='UTF-8' standalone='yes'?>
<Relationships xmlns="http://schemas.openxmlformats.org/package/2006/relationships"><Relationship Id="rId1" Type="http://schemas.openxmlformats.org/officeDocument/2006/relationships/themeOverride" Target="../theme/themeOverride2047.xml"/><Relationship Id="rId2" Type="http://schemas.openxmlformats.org/officeDocument/2006/relationships/package" Target="../embeddings/Microsoft_Excel_Worksheet2100.xlsx"/></Relationships>
</file>

<file path=ppt/charts/_rels/chart2102.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2101.xlsx"/></Relationships>
</file>

<file path=ppt/charts/_rels/chart2103.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2102.xlsx"/></Relationships>
</file>

<file path=ppt/charts/_rels/chart2104.xml.rels><?xml version='1.0' encoding='UTF-8' standalone='yes'?>
<Relationships xmlns="http://schemas.openxmlformats.org/package/2006/relationships"><Relationship Id="rId1" Type="http://schemas.openxmlformats.org/officeDocument/2006/relationships/themeOverride" Target="../theme/themeOverride2048.xml"/><Relationship Id="rId2" Type="http://schemas.openxmlformats.org/officeDocument/2006/relationships/package" Target="../embeddings/Microsoft_Excel_Worksheet2103.xlsx"/></Relationships>
</file>

<file path=ppt/charts/_rels/chart2105.xml.rels><?xml version='1.0' encoding='UTF-8' standalone='yes'?>
<Relationships xmlns="http://schemas.openxmlformats.org/package/2006/relationships"><Relationship Id="rId1" Type="http://schemas.openxmlformats.org/officeDocument/2006/relationships/themeOverride" Target="../theme/themeOverride2049.xml"/><Relationship Id="rId2" Type="http://schemas.openxmlformats.org/officeDocument/2006/relationships/package" Target="../embeddings/Microsoft_Excel_Worksheet2104.xlsx"/></Relationships>
</file>

<file path=ppt/charts/_rels/chart2106.xml.rels><?xml version='1.0' encoding='UTF-8' standalone='yes'?>
<Relationships xmlns="http://schemas.openxmlformats.org/package/2006/relationships"><Relationship Id="rId1" Type="http://schemas.openxmlformats.org/officeDocument/2006/relationships/themeOverride" Target="../theme/themeOverride2050.xml"/><Relationship Id="rId2" Type="http://schemas.openxmlformats.org/officeDocument/2006/relationships/package" Target="../embeddings/Microsoft_Excel_Worksheet2105.xlsx"/></Relationships>
</file>

<file path=ppt/charts/_rels/chart2107.xml.rels><?xml version='1.0' encoding='UTF-8' standalone='yes'?>
<Relationships xmlns="http://schemas.openxmlformats.org/package/2006/relationships"><Relationship Id="rId1" Type="http://schemas.openxmlformats.org/officeDocument/2006/relationships/themeOverride" Target="../theme/themeOverride2051.xml"/><Relationship Id="rId2" Type="http://schemas.openxmlformats.org/officeDocument/2006/relationships/package" Target="../embeddings/Microsoft_Excel_Worksheet2106.xlsx"/></Relationships>
</file>

<file path=ppt/charts/_rels/chart2108.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2107.xlsx"/></Relationships>
</file>

<file path=ppt/charts/_rels/chart2109.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2108.xlsx"/></Relationships>
</file>

<file path=ppt/charts/_rels/chart211.xml.rels><?xml version='1.0' encoding='UTF-8' standalone='yes'?>
<Relationships xmlns="http://schemas.openxmlformats.org/package/2006/relationships"><Relationship Id="rId1" Type="http://schemas.openxmlformats.org/officeDocument/2006/relationships/themeOverride" Target="../theme/themeOverride211.xml"/><Relationship Id="rId2"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themeOverride" Target="../theme/themeOverride212.xml"/><Relationship Id="rId2" Type="http://schemas.openxmlformats.org/officeDocument/2006/relationships/package" Target="../embeddings/Microsoft_Excel_Worksheet211.xlsx"/></Relationships>
</file>

<file path=ppt/charts/_rels/chart2128.xml.rels><?xml version='1.0' encoding='UTF-8' standalone='yes'?>
<Relationships xmlns="http://schemas.openxmlformats.org/package/2006/relationships"><Relationship Id="rId1" Type="http://schemas.openxmlformats.org/officeDocument/2006/relationships/themeOverride" Target="../theme/themeOverride2064.xml"/><Relationship Id="rId2" Type="http://schemas.openxmlformats.org/officeDocument/2006/relationships/package" Target="../embeddings/Microsoft_Excel_Worksheet2127.xlsx"/></Relationships>
</file>

<file path=ppt/charts/_rels/chart2129.xml.rels><?xml version='1.0' encoding='UTF-8' standalone='yes'?>
<Relationships xmlns="http://schemas.openxmlformats.org/package/2006/relationships"><Relationship Id="rId1" Type="http://schemas.openxmlformats.org/officeDocument/2006/relationships/themeOverride" Target="../theme/themeOverride2065.xml"/><Relationship Id="rId2" Type="http://schemas.openxmlformats.org/officeDocument/2006/relationships/package" Target="../embeddings/Microsoft_Excel_Worksheet2128.xlsx"/></Relationships>
</file>

<file path=ppt/charts/_rels/chart213.xml.rels><?xml version='1.0' encoding='UTF-8' standalone='yes'?>
<Relationships xmlns="http://schemas.openxmlformats.org/package/2006/relationships"><Relationship Id="rId1" Type="http://schemas.openxmlformats.org/officeDocument/2006/relationships/themeOverride" Target="../theme/themeOverride213.xml"/><Relationship Id="rId2" Type="http://schemas.openxmlformats.org/officeDocument/2006/relationships/package" Target="../embeddings/Microsoft_Excel_Worksheet212.xlsx"/></Relationships>
</file>

<file path=ppt/charts/_rels/chart2130.xml.rels><?xml version='1.0' encoding='UTF-8' standalone='yes'?>
<Relationships xmlns="http://schemas.openxmlformats.org/package/2006/relationships"><Relationship Id="rId1" Type="http://schemas.openxmlformats.org/officeDocument/2006/relationships/themeOverride" Target="../theme/themeOverride2066.xml"/><Relationship Id="rId2" Type="http://schemas.openxmlformats.org/officeDocument/2006/relationships/package" Target="../embeddings/Microsoft_Excel_Worksheet2129.xlsx"/></Relationships>
</file>

<file path=ppt/charts/_rels/chart2131.xml.rels><?xml version='1.0' encoding='UTF-8' standalone='yes'?>
<Relationships xmlns="http://schemas.openxmlformats.org/package/2006/relationships"><Relationship Id="rId1" Type="http://schemas.openxmlformats.org/officeDocument/2006/relationships/themeOverride" Target="../theme/themeOverride2067.xml"/><Relationship Id="rId2" Type="http://schemas.openxmlformats.org/officeDocument/2006/relationships/package" Target="../embeddings/Microsoft_Excel_Worksheet2130.xlsx"/></Relationships>
</file>

<file path=ppt/charts/_rels/chart2132.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2131.xlsx"/></Relationships>
</file>

<file path=ppt/charts/_rels/chart2133.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2132.xlsx"/></Relationships>
</file>

<file path=ppt/charts/_rels/chart214.xml.rels><?xml version='1.0' encoding='UTF-8' standalone='yes'?>
<Relationships xmlns="http://schemas.openxmlformats.org/package/2006/relationships"><Relationship Id="rId1" Type="http://schemas.openxmlformats.org/officeDocument/2006/relationships/themeOverride" Target="../theme/themeOverride214.xml"/><Relationship Id="rId2" Type="http://schemas.openxmlformats.org/officeDocument/2006/relationships/package" Target="../embeddings/Microsoft_Excel_Worksheet213.xlsx"/></Relationships>
</file>

<file path=ppt/charts/_rels/chart2140.xml.rels><?xml version='1.0' encoding='UTF-8' standalone='yes'?>
<Relationships xmlns="http://schemas.openxmlformats.org/package/2006/relationships"><Relationship Id="rId1" Type="http://schemas.openxmlformats.org/officeDocument/2006/relationships/themeOverride" Target="../theme/themeOverride2072.xml"/><Relationship Id="rId2" Type="http://schemas.openxmlformats.org/officeDocument/2006/relationships/package" Target="../embeddings/Microsoft_Excel_Worksheet2139.xlsx"/></Relationships>
</file>

<file path=ppt/charts/_rels/chart2141.xml.rels><?xml version='1.0' encoding='UTF-8' standalone='yes'?>
<Relationships xmlns="http://schemas.openxmlformats.org/package/2006/relationships"><Relationship Id="rId1" Type="http://schemas.openxmlformats.org/officeDocument/2006/relationships/themeOverride" Target="../theme/themeOverride2073.xml"/><Relationship Id="rId2" Type="http://schemas.openxmlformats.org/officeDocument/2006/relationships/package" Target="../embeddings/Microsoft_Excel_Worksheet2140.xlsx"/></Relationships>
</file>

<file path=ppt/charts/_rels/chart2142.xml.rels><?xml version='1.0' encoding='UTF-8' standalone='yes'?>
<Relationships xmlns="http://schemas.openxmlformats.org/package/2006/relationships"><Relationship Id="rId1" Type="http://schemas.openxmlformats.org/officeDocument/2006/relationships/themeOverride" Target="../theme/themeOverride2074.xml"/><Relationship Id="rId2" Type="http://schemas.openxmlformats.org/officeDocument/2006/relationships/package" Target="../embeddings/Microsoft_Excel_Worksheet2141.xlsx"/></Relationships>
</file>

<file path=ppt/charts/_rels/chart2143.xml.rels><?xml version='1.0' encoding='UTF-8' standalone='yes'?>
<Relationships xmlns="http://schemas.openxmlformats.org/package/2006/relationships"><Relationship Id="rId1" Type="http://schemas.openxmlformats.org/officeDocument/2006/relationships/themeOverride" Target="../theme/themeOverride2075.xml"/><Relationship Id="rId2" Type="http://schemas.openxmlformats.org/officeDocument/2006/relationships/package" Target="../embeddings/Microsoft_Excel_Worksheet2142.xlsx"/></Relationships>
</file>

<file path=ppt/charts/_rels/chart2144.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2143.xlsx"/></Relationships>
</file>

<file path=ppt/charts/_rels/chart2145.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2144.xlsx"/></Relationships>
</file>

<file path=ppt/charts/_rels/chart2146.xml.rels><?xml version='1.0' encoding='UTF-8' standalone='yes'?>
<Relationships xmlns="http://schemas.openxmlformats.org/package/2006/relationships"><Relationship Id="rId1" Type="http://schemas.openxmlformats.org/officeDocument/2006/relationships/themeOverride" Target="../theme/themeOverride2076.xml"/><Relationship Id="rId2" Type="http://schemas.openxmlformats.org/officeDocument/2006/relationships/package" Target="../embeddings/Microsoft_Excel_Worksheet2145.xlsx"/></Relationships>
</file>

<file path=ppt/charts/_rels/chart2147.xml.rels><?xml version='1.0' encoding='UTF-8' standalone='yes'?>
<Relationships xmlns="http://schemas.openxmlformats.org/package/2006/relationships"><Relationship Id="rId1" Type="http://schemas.openxmlformats.org/officeDocument/2006/relationships/themeOverride" Target="../theme/themeOverride2077.xml"/><Relationship Id="rId2" Type="http://schemas.openxmlformats.org/officeDocument/2006/relationships/package" Target="../embeddings/Microsoft_Excel_Worksheet2146.xlsx"/></Relationships>
</file>

<file path=ppt/charts/_rels/chart2148.xml.rels><?xml version='1.0' encoding='UTF-8' standalone='yes'?>
<Relationships xmlns="http://schemas.openxmlformats.org/package/2006/relationships"><Relationship Id="rId1" Type="http://schemas.openxmlformats.org/officeDocument/2006/relationships/themeOverride" Target="../theme/themeOverride2078.xml"/><Relationship Id="rId2" Type="http://schemas.openxmlformats.org/officeDocument/2006/relationships/package" Target="../embeddings/Microsoft_Excel_Worksheet2147.xlsx"/></Relationships>
</file>

<file path=ppt/charts/_rels/chart2149.xml.rels><?xml version='1.0' encoding='UTF-8' standalone='yes'?>
<Relationships xmlns="http://schemas.openxmlformats.org/package/2006/relationships"><Relationship Id="rId1" Type="http://schemas.openxmlformats.org/officeDocument/2006/relationships/themeOverride" Target="../theme/themeOverride2079.xml"/><Relationship Id="rId2" Type="http://schemas.openxmlformats.org/officeDocument/2006/relationships/package" Target="../embeddings/Microsoft_Excel_Worksheet2148.xlsx"/></Relationships>
</file>

<file path=ppt/charts/_rels/chart215.xml.rels><?xml version='1.0' encoding='UTF-8' standalone='yes'?>
<Relationships xmlns="http://schemas.openxmlformats.org/package/2006/relationships"><Relationship Id="rId1" Type="http://schemas.openxmlformats.org/officeDocument/2006/relationships/themeOverride" Target="../theme/themeOverride215.xml"/><Relationship Id="rId2" Type="http://schemas.openxmlformats.org/officeDocument/2006/relationships/package" Target="../embeddings/Microsoft_Excel_Worksheet214.xlsx"/></Relationships>
</file>

<file path=ppt/charts/_rels/chart2150.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2149.xlsx"/></Relationships>
</file>

<file path=ppt/charts/_rels/chart2151.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2150.xlsx"/></Relationships>
</file>

<file path=ppt/charts/_rels/chart2170.xml.rels><?xml version='1.0' encoding='UTF-8' standalone='yes'?>
<Relationships xmlns="http://schemas.openxmlformats.org/package/2006/relationships"><Relationship Id="rId1" Type="http://schemas.openxmlformats.org/officeDocument/2006/relationships/themeOverride" Target="../theme/themeOverride2092.xml"/><Relationship Id="rId2" Type="http://schemas.openxmlformats.org/officeDocument/2006/relationships/package" Target="../embeddings/Microsoft_Excel_Worksheet2169.xlsx"/></Relationships>
</file>

<file path=ppt/charts/_rels/chart2171.xml.rels><?xml version='1.0' encoding='UTF-8' standalone='yes'?>
<Relationships xmlns="http://schemas.openxmlformats.org/package/2006/relationships"><Relationship Id="rId1" Type="http://schemas.openxmlformats.org/officeDocument/2006/relationships/themeOverride" Target="../theme/themeOverride2093.xml"/><Relationship Id="rId2" Type="http://schemas.openxmlformats.org/officeDocument/2006/relationships/package" Target="../embeddings/Microsoft_Excel_Worksheet2170.xlsx"/></Relationships>
</file>

<file path=ppt/charts/_rels/chart2172.xml.rels><?xml version='1.0' encoding='UTF-8' standalone='yes'?>
<Relationships xmlns="http://schemas.openxmlformats.org/package/2006/relationships"><Relationship Id="rId1" Type="http://schemas.openxmlformats.org/officeDocument/2006/relationships/themeOverride" Target="../theme/themeOverride2094.xml"/><Relationship Id="rId2" Type="http://schemas.openxmlformats.org/officeDocument/2006/relationships/package" Target="../embeddings/Microsoft_Excel_Worksheet2171.xlsx"/></Relationships>
</file>

<file path=ppt/charts/_rels/chart2173.xml.rels><?xml version='1.0' encoding='UTF-8' standalone='yes'?>
<Relationships xmlns="http://schemas.openxmlformats.org/package/2006/relationships"><Relationship Id="rId1" Type="http://schemas.openxmlformats.org/officeDocument/2006/relationships/themeOverride" Target="../theme/themeOverride2095.xml"/><Relationship Id="rId2" Type="http://schemas.openxmlformats.org/officeDocument/2006/relationships/package" Target="../embeddings/Microsoft_Excel_Worksheet2172.xlsx"/></Relationships>
</file>

<file path=ppt/charts/_rels/chart2174.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2173.xlsx"/></Relationships>
</file>

<file path=ppt/charts/_rels/chart2175.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2174.xlsx"/></Relationships>
</file>

<file path=ppt/charts/_rels/chart2194.xml.rels><?xml version='1.0' encoding='UTF-8' standalone='yes'?>
<Relationships xmlns="http://schemas.openxmlformats.org/package/2006/relationships"><Relationship Id="rId1" Type="http://schemas.openxmlformats.org/officeDocument/2006/relationships/themeOverride" Target="../theme/themeOverride2108.xml"/><Relationship Id="rId2" Type="http://schemas.openxmlformats.org/officeDocument/2006/relationships/package" Target="../embeddings/Microsoft_Excel_Worksheet2193.xlsx"/></Relationships>
</file>

<file path=ppt/charts/_rels/chart2195.xml.rels><?xml version='1.0' encoding='UTF-8' standalone='yes'?>
<Relationships xmlns="http://schemas.openxmlformats.org/package/2006/relationships"><Relationship Id="rId1" Type="http://schemas.openxmlformats.org/officeDocument/2006/relationships/themeOverride" Target="../theme/themeOverride2109.xml"/><Relationship Id="rId2" Type="http://schemas.openxmlformats.org/officeDocument/2006/relationships/package" Target="../embeddings/Microsoft_Excel_Worksheet2194.xlsx"/></Relationships>
</file>

<file path=ppt/charts/_rels/chart2196.xml.rels><?xml version='1.0' encoding='UTF-8' standalone='yes'?>
<Relationships xmlns="http://schemas.openxmlformats.org/package/2006/relationships"><Relationship Id="rId1" Type="http://schemas.openxmlformats.org/officeDocument/2006/relationships/themeOverride" Target="../theme/themeOverride2110.xml"/><Relationship Id="rId2" Type="http://schemas.openxmlformats.org/officeDocument/2006/relationships/package" Target="../embeddings/Microsoft_Excel_Worksheet2195.xlsx"/></Relationships>
</file>

<file path=ppt/charts/_rels/chart2197.xml.rels><?xml version='1.0' encoding='UTF-8' standalone='yes'?>
<Relationships xmlns="http://schemas.openxmlformats.org/package/2006/relationships"><Relationship Id="rId1" Type="http://schemas.openxmlformats.org/officeDocument/2006/relationships/themeOverride" Target="../theme/themeOverride2111.xml"/><Relationship Id="rId2" Type="http://schemas.openxmlformats.org/officeDocument/2006/relationships/package" Target="../embeddings/Microsoft_Excel_Worksheet2196.xlsx"/></Relationships>
</file>

<file path=ppt/charts/_rels/chart2198.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2197.xlsx"/></Relationships>
</file>

<file path=ppt/charts/_rels/chart2199.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2198.xlsx"/></Relationships>
</file>

<file path=ppt/charts/_rels/chart2206.xml.rels><?xml version='1.0' encoding='UTF-8' standalone='yes'?>
<Relationships xmlns="http://schemas.openxmlformats.org/package/2006/relationships"><Relationship Id="rId1" Type="http://schemas.openxmlformats.org/officeDocument/2006/relationships/themeOverride" Target="../theme/themeOverride2116.xml"/><Relationship Id="rId2" Type="http://schemas.openxmlformats.org/officeDocument/2006/relationships/package" Target="../embeddings/Microsoft_Excel_Worksheet2205.xlsx"/></Relationships>
</file>

<file path=ppt/charts/_rels/chart2207.xml.rels><?xml version='1.0' encoding='UTF-8' standalone='yes'?>
<Relationships xmlns="http://schemas.openxmlformats.org/package/2006/relationships"><Relationship Id="rId1" Type="http://schemas.openxmlformats.org/officeDocument/2006/relationships/themeOverride" Target="../theme/themeOverride2117.xml"/><Relationship Id="rId2" Type="http://schemas.openxmlformats.org/officeDocument/2006/relationships/package" Target="../embeddings/Microsoft_Excel_Worksheet2206.xlsx"/></Relationships>
</file>

<file path=ppt/charts/_rels/chart2208.xml.rels><?xml version='1.0' encoding='UTF-8' standalone='yes'?>
<Relationships xmlns="http://schemas.openxmlformats.org/package/2006/relationships"><Relationship Id="rId1" Type="http://schemas.openxmlformats.org/officeDocument/2006/relationships/themeOverride" Target="../theme/themeOverride2118.xml"/><Relationship Id="rId2" Type="http://schemas.openxmlformats.org/officeDocument/2006/relationships/package" Target="../embeddings/Microsoft_Excel_Worksheet2207.xlsx"/></Relationships>
</file>

<file path=ppt/charts/_rels/chart2209.xml.rels><?xml version='1.0' encoding='UTF-8' standalone='yes'?>
<Relationships xmlns="http://schemas.openxmlformats.org/package/2006/relationships"><Relationship Id="rId1" Type="http://schemas.openxmlformats.org/officeDocument/2006/relationships/themeOverride" Target="../theme/themeOverride2119.xml"/><Relationship Id="rId2" Type="http://schemas.openxmlformats.org/officeDocument/2006/relationships/package" Target="../embeddings/Microsoft_Excel_Worksheet2208.xlsx"/></Relationships>
</file>

<file path=ppt/charts/_rels/chart2210.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2209.xlsx"/></Relationships>
</file>

<file path=ppt/charts/_rels/chart2211.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2210.xlsx"/></Relationships>
</file>

<file path=ppt/charts/_rels/chart2212.xml.rels><?xml version='1.0' encoding='UTF-8' standalone='yes'?>
<Relationships xmlns="http://schemas.openxmlformats.org/package/2006/relationships"><Relationship Id="rId1" Type="http://schemas.openxmlformats.org/officeDocument/2006/relationships/themeOverride" Target="../theme/themeOverride2120.xml"/><Relationship Id="rId2" Type="http://schemas.openxmlformats.org/officeDocument/2006/relationships/package" Target="../embeddings/Microsoft_Excel_Worksheet2211.xlsx"/></Relationships>
</file>

<file path=ppt/charts/_rels/chart2213.xml.rels><?xml version='1.0' encoding='UTF-8' standalone='yes'?>
<Relationships xmlns="http://schemas.openxmlformats.org/package/2006/relationships"><Relationship Id="rId1" Type="http://schemas.openxmlformats.org/officeDocument/2006/relationships/themeOverride" Target="../theme/themeOverride2121.xml"/><Relationship Id="rId2" Type="http://schemas.openxmlformats.org/officeDocument/2006/relationships/package" Target="../embeddings/Microsoft_Excel_Worksheet2212.xlsx"/></Relationships>
</file>

<file path=ppt/charts/_rels/chart2214.xml.rels><?xml version='1.0' encoding='UTF-8' standalone='yes'?>
<Relationships xmlns="http://schemas.openxmlformats.org/package/2006/relationships"><Relationship Id="rId1" Type="http://schemas.openxmlformats.org/officeDocument/2006/relationships/themeOverride" Target="../theme/themeOverride2122.xml"/><Relationship Id="rId2" Type="http://schemas.openxmlformats.org/officeDocument/2006/relationships/package" Target="../embeddings/Microsoft_Excel_Worksheet2213.xlsx"/></Relationships>
</file>

<file path=ppt/charts/_rels/chart2215.xml.rels><?xml version='1.0' encoding='UTF-8' standalone='yes'?>
<Relationships xmlns="http://schemas.openxmlformats.org/package/2006/relationships"><Relationship Id="rId1" Type="http://schemas.openxmlformats.org/officeDocument/2006/relationships/themeOverride" Target="../theme/themeOverride2123.xml"/><Relationship Id="rId2" Type="http://schemas.openxmlformats.org/officeDocument/2006/relationships/package" Target="../embeddings/Microsoft_Excel_Worksheet2214.xlsx"/></Relationships>
</file>

<file path=ppt/charts/_rels/chart2216.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2215.xlsx"/></Relationships>
</file>

<file path=ppt/charts/_rels/chart2217.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2216.xlsx"/></Relationships>
</file>

<file path=ppt/charts/_rels/chart2236.xml.rels><?xml version='1.0' encoding='UTF-8' standalone='yes'?>
<Relationships xmlns="http://schemas.openxmlformats.org/package/2006/relationships"><Relationship Id="rId1" Type="http://schemas.openxmlformats.org/officeDocument/2006/relationships/themeOverride" Target="../theme/themeOverride2136.xml"/><Relationship Id="rId2" Type="http://schemas.openxmlformats.org/officeDocument/2006/relationships/package" Target="../embeddings/Microsoft_Excel_Worksheet2235.xlsx"/></Relationships>
</file>

<file path=ppt/charts/_rels/chart2237.xml.rels><?xml version='1.0' encoding='UTF-8' standalone='yes'?>
<Relationships xmlns="http://schemas.openxmlformats.org/package/2006/relationships"><Relationship Id="rId1" Type="http://schemas.openxmlformats.org/officeDocument/2006/relationships/themeOverride" Target="../theme/themeOverride2137.xml"/><Relationship Id="rId2" Type="http://schemas.openxmlformats.org/officeDocument/2006/relationships/package" Target="../embeddings/Microsoft_Excel_Worksheet2236.xlsx"/></Relationships>
</file>

<file path=ppt/charts/_rels/chart2238.xml.rels><?xml version='1.0' encoding='UTF-8' standalone='yes'?>
<Relationships xmlns="http://schemas.openxmlformats.org/package/2006/relationships"><Relationship Id="rId1" Type="http://schemas.openxmlformats.org/officeDocument/2006/relationships/themeOverride" Target="../theme/themeOverride2138.xml"/><Relationship Id="rId2" Type="http://schemas.openxmlformats.org/officeDocument/2006/relationships/package" Target="../embeddings/Microsoft_Excel_Worksheet2237.xlsx"/></Relationships>
</file>

<file path=ppt/charts/_rels/chart2239.xml.rels><?xml version='1.0' encoding='UTF-8' standalone='yes'?>
<Relationships xmlns="http://schemas.openxmlformats.org/package/2006/relationships"><Relationship Id="rId1" Type="http://schemas.openxmlformats.org/officeDocument/2006/relationships/themeOverride" Target="../theme/themeOverride2139.xml"/><Relationship Id="rId2" Type="http://schemas.openxmlformats.org/officeDocument/2006/relationships/package" Target="../embeddings/Microsoft_Excel_Worksheet2238.xlsx"/></Relationships>
</file>

<file path=ppt/charts/_rels/chart2240.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2239.xlsx"/></Relationships>
</file>

<file path=ppt/charts/_rels/chart2241.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2240.xlsx"/></Relationships>
</file>

<file path=ppt/charts/_rels/chart2272.xml.rels><?xml version='1.0' encoding='UTF-8' standalone='yes'?>
<Relationships xmlns="http://schemas.openxmlformats.org/package/2006/relationships"><Relationship Id="rId1" Type="http://schemas.openxmlformats.org/officeDocument/2006/relationships/themeOverride" Target="../theme/themeOverride2160.xml"/><Relationship Id="rId2" Type="http://schemas.openxmlformats.org/officeDocument/2006/relationships/package" Target="../embeddings/Microsoft_Excel_Worksheet2271.xlsx"/></Relationships>
</file>

<file path=ppt/charts/_rels/chart2273.xml.rels><?xml version='1.0' encoding='UTF-8' standalone='yes'?>
<Relationships xmlns="http://schemas.openxmlformats.org/package/2006/relationships"><Relationship Id="rId1" Type="http://schemas.openxmlformats.org/officeDocument/2006/relationships/themeOverride" Target="../theme/themeOverride2161.xml"/><Relationship Id="rId2" Type="http://schemas.openxmlformats.org/officeDocument/2006/relationships/package" Target="../embeddings/Microsoft_Excel_Worksheet2272.xlsx"/></Relationships>
</file>

<file path=ppt/charts/_rels/chart2274.xml.rels><?xml version='1.0' encoding='UTF-8' standalone='yes'?>
<Relationships xmlns="http://schemas.openxmlformats.org/package/2006/relationships"><Relationship Id="rId1" Type="http://schemas.openxmlformats.org/officeDocument/2006/relationships/themeOverride" Target="../theme/themeOverride2162.xml"/><Relationship Id="rId2" Type="http://schemas.openxmlformats.org/officeDocument/2006/relationships/package" Target="../embeddings/Microsoft_Excel_Worksheet2273.xlsx"/></Relationships>
</file>

<file path=ppt/charts/_rels/chart2275.xml.rels><?xml version='1.0' encoding='UTF-8' standalone='yes'?>
<Relationships xmlns="http://schemas.openxmlformats.org/package/2006/relationships"><Relationship Id="rId1" Type="http://schemas.openxmlformats.org/officeDocument/2006/relationships/themeOverride" Target="../theme/themeOverride2163.xml"/><Relationship Id="rId2" Type="http://schemas.openxmlformats.org/officeDocument/2006/relationships/package" Target="../embeddings/Microsoft_Excel_Worksheet2274.xlsx"/></Relationships>
</file>

<file path=ppt/charts/_rels/chart2276.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2275.xlsx"/></Relationships>
</file>

<file path=ppt/charts/_rels/chart2277.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2276.xlsx"/></Relationships>
</file>

<file path=ppt/charts/_rels/chart2278.xml.rels><?xml version='1.0' encoding='UTF-8' standalone='yes'?>
<Relationships xmlns="http://schemas.openxmlformats.org/package/2006/relationships"><Relationship Id="rId1" Type="http://schemas.openxmlformats.org/officeDocument/2006/relationships/themeOverride" Target="../theme/themeOverride2164.xml"/><Relationship Id="rId2" Type="http://schemas.openxmlformats.org/officeDocument/2006/relationships/package" Target="../embeddings/Microsoft_Excel_Worksheet2277.xlsx"/></Relationships>
</file>

<file path=ppt/charts/_rels/chart2279.xml.rels><?xml version='1.0' encoding='UTF-8' standalone='yes'?>
<Relationships xmlns="http://schemas.openxmlformats.org/package/2006/relationships"><Relationship Id="rId1" Type="http://schemas.openxmlformats.org/officeDocument/2006/relationships/themeOverride" Target="../theme/themeOverride2165.xml"/><Relationship Id="rId2" Type="http://schemas.openxmlformats.org/officeDocument/2006/relationships/package" Target="../embeddings/Microsoft_Excel_Worksheet2278.xlsx"/></Relationships>
</file>

<file path=ppt/charts/_rels/chart2280.xml.rels><?xml version='1.0' encoding='UTF-8' standalone='yes'?>
<Relationships xmlns="http://schemas.openxmlformats.org/package/2006/relationships"><Relationship Id="rId1" Type="http://schemas.openxmlformats.org/officeDocument/2006/relationships/themeOverride" Target="../theme/themeOverride2166.xml"/><Relationship Id="rId2" Type="http://schemas.openxmlformats.org/officeDocument/2006/relationships/package" Target="../embeddings/Microsoft_Excel_Worksheet2279.xlsx"/></Relationships>
</file>

<file path=ppt/charts/_rels/chart2281.xml.rels><?xml version='1.0' encoding='UTF-8' standalone='yes'?>
<Relationships xmlns="http://schemas.openxmlformats.org/package/2006/relationships"><Relationship Id="rId1" Type="http://schemas.openxmlformats.org/officeDocument/2006/relationships/themeOverride" Target="../theme/themeOverride2167.xml"/><Relationship Id="rId2" Type="http://schemas.openxmlformats.org/officeDocument/2006/relationships/package" Target="../embeddings/Microsoft_Excel_Worksheet2280.xlsx"/></Relationships>
</file>

<file path=ppt/charts/_rels/chart2282.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2281.xlsx"/></Relationships>
</file>

<file path=ppt/charts/_rels/chart2283.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2282.xlsx"/></Relationships>
</file>

<file path=ppt/charts/_rels/chart2302.xml.rels><?xml version='1.0' encoding='UTF-8' standalone='yes'?>
<Relationships xmlns="http://schemas.openxmlformats.org/package/2006/relationships"><Relationship Id="rId1" Type="http://schemas.openxmlformats.org/officeDocument/2006/relationships/themeOverride" Target="../theme/themeOverride2180.xml"/><Relationship Id="rId2" Type="http://schemas.openxmlformats.org/officeDocument/2006/relationships/package" Target="../embeddings/Microsoft_Excel_Worksheet2301.xlsx"/></Relationships>
</file>

<file path=ppt/charts/_rels/chart2303.xml.rels><?xml version='1.0' encoding='UTF-8' standalone='yes'?>
<Relationships xmlns="http://schemas.openxmlformats.org/package/2006/relationships"><Relationship Id="rId1" Type="http://schemas.openxmlformats.org/officeDocument/2006/relationships/themeOverride" Target="../theme/themeOverride2181.xml"/><Relationship Id="rId2" Type="http://schemas.openxmlformats.org/officeDocument/2006/relationships/package" Target="../embeddings/Microsoft_Excel_Worksheet2302.xlsx"/></Relationships>
</file>

<file path=ppt/charts/_rels/chart2304.xml.rels><?xml version='1.0' encoding='UTF-8' standalone='yes'?>
<Relationships xmlns="http://schemas.openxmlformats.org/package/2006/relationships"><Relationship Id="rId1" Type="http://schemas.openxmlformats.org/officeDocument/2006/relationships/themeOverride" Target="../theme/themeOverride2182.xml"/><Relationship Id="rId2" Type="http://schemas.openxmlformats.org/officeDocument/2006/relationships/package" Target="../embeddings/Microsoft_Excel_Worksheet2303.xlsx"/></Relationships>
</file>

<file path=ppt/charts/_rels/chart2305.xml.rels><?xml version='1.0' encoding='UTF-8' standalone='yes'?>
<Relationships xmlns="http://schemas.openxmlformats.org/package/2006/relationships"><Relationship Id="rId1" Type="http://schemas.openxmlformats.org/officeDocument/2006/relationships/themeOverride" Target="../theme/themeOverride2183.xml"/><Relationship Id="rId2" Type="http://schemas.openxmlformats.org/officeDocument/2006/relationships/package" Target="../embeddings/Microsoft_Excel_Worksheet2304.xlsx"/></Relationships>
</file>

<file path=ppt/charts/_rels/chart2306.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2305.xlsx"/></Relationships>
</file>

<file path=ppt/charts/_rels/chart2307.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2306.xlsx"/></Relationships>
</file>

<file path=ppt/charts/_rels/chart2332.xml.rels><?xml version='1.0' encoding='UTF-8' standalone='yes'?>
<Relationships xmlns="http://schemas.openxmlformats.org/package/2006/relationships"><Relationship Id="rId1" Type="http://schemas.openxmlformats.org/officeDocument/2006/relationships/themeOverride" Target="../theme/themeOverride2200.xml"/><Relationship Id="rId2" Type="http://schemas.openxmlformats.org/officeDocument/2006/relationships/package" Target="../embeddings/Microsoft_Excel_Worksheet2331.xlsx"/></Relationships>
</file>

<file path=ppt/charts/_rels/chart2333.xml.rels><?xml version='1.0' encoding='UTF-8' standalone='yes'?>
<Relationships xmlns="http://schemas.openxmlformats.org/package/2006/relationships"><Relationship Id="rId1" Type="http://schemas.openxmlformats.org/officeDocument/2006/relationships/themeOverride" Target="../theme/themeOverride2201.xml"/><Relationship Id="rId2" Type="http://schemas.openxmlformats.org/officeDocument/2006/relationships/package" Target="../embeddings/Microsoft_Excel_Worksheet2332.xlsx"/></Relationships>
</file>

<file path=ppt/charts/_rels/chart2334.xml.rels><?xml version='1.0' encoding='UTF-8' standalone='yes'?>
<Relationships xmlns="http://schemas.openxmlformats.org/package/2006/relationships"><Relationship Id="rId1" Type="http://schemas.openxmlformats.org/officeDocument/2006/relationships/themeOverride" Target="../theme/themeOverride2202.xml"/><Relationship Id="rId2" Type="http://schemas.openxmlformats.org/officeDocument/2006/relationships/package" Target="../embeddings/Microsoft_Excel_Worksheet2333.xlsx"/></Relationships>
</file>

<file path=ppt/charts/_rels/chart2335.xml.rels><?xml version='1.0' encoding='UTF-8' standalone='yes'?>
<Relationships xmlns="http://schemas.openxmlformats.org/package/2006/relationships"><Relationship Id="rId1" Type="http://schemas.openxmlformats.org/officeDocument/2006/relationships/themeOverride" Target="../theme/themeOverride2203.xml"/><Relationship Id="rId2" Type="http://schemas.openxmlformats.org/officeDocument/2006/relationships/package" Target="../embeddings/Microsoft_Excel_Worksheet2334.xlsx"/></Relationships>
</file>

<file path=ppt/charts/_rels/chart2336.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2335.xlsx"/></Relationships>
</file>

<file path=ppt/charts/_rels/chart2337.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2336.xlsx"/></Relationships>
</file>

<file path=ppt/charts/_rels/chart2356.xml.rels><?xml version='1.0' encoding='UTF-8' standalone='yes'?>
<Relationships xmlns="http://schemas.openxmlformats.org/package/2006/relationships"><Relationship Id="rId1" Type="http://schemas.openxmlformats.org/officeDocument/2006/relationships/themeOverride" Target="../theme/themeOverride2216.xml"/><Relationship Id="rId2" Type="http://schemas.openxmlformats.org/officeDocument/2006/relationships/package" Target="../embeddings/Microsoft_Excel_Worksheet2355.xlsx"/></Relationships>
</file>

<file path=ppt/charts/_rels/chart2357.xml.rels><?xml version='1.0' encoding='UTF-8' standalone='yes'?>
<Relationships xmlns="http://schemas.openxmlformats.org/package/2006/relationships"><Relationship Id="rId1" Type="http://schemas.openxmlformats.org/officeDocument/2006/relationships/themeOverride" Target="../theme/themeOverride2217.xml"/><Relationship Id="rId2" Type="http://schemas.openxmlformats.org/officeDocument/2006/relationships/package" Target="../embeddings/Microsoft_Excel_Worksheet2356.xlsx"/></Relationships>
</file>

<file path=ppt/charts/_rels/chart2358.xml.rels><?xml version='1.0' encoding='UTF-8' standalone='yes'?>
<Relationships xmlns="http://schemas.openxmlformats.org/package/2006/relationships"><Relationship Id="rId1" Type="http://schemas.openxmlformats.org/officeDocument/2006/relationships/themeOverride" Target="../theme/themeOverride2218.xml"/><Relationship Id="rId2" Type="http://schemas.openxmlformats.org/officeDocument/2006/relationships/package" Target="../embeddings/Microsoft_Excel_Worksheet2357.xlsx"/></Relationships>
</file>

<file path=ppt/charts/_rels/chart2359.xml.rels><?xml version='1.0' encoding='UTF-8' standalone='yes'?>
<Relationships xmlns="http://schemas.openxmlformats.org/package/2006/relationships"><Relationship Id="rId1" Type="http://schemas.openxmlformats.org/officeDocument/2006/relationships/themeOverride" Target="../theme/themeOverride2219.xml"/><Relationship Id="rId2" Type="http://schemas.openxmlformats.org/officeDocument/2006/relationships/package" Target="../embeddings/Microsoft_Excel_Worksheet2358.xlsx"/></Relationships>
</file>

<file path=ppt/charts/_rels/chart2360.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2359.xlsx"/></Relationships>
</file>

<file path=ppt/charts/_rels/chart2361.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2360.xlsx"/></Relationships>
</file>

<file path=ppt/charts/_rels/chart2362.xml.rels><?xml version='1.0' encoding='UTF-8' standalone='yes'?>
<Relationships xmlns="http://schemas.openxmlformats.org/package/2006/relationships"><Relationship Id="rId1" Type="http://schemas.openxmlformats.org/officeDocument/2006/relationships/themeOverride" Target="../theme/themeOverride2220.xml"/><Relationship Id="rId2" Type="http://schemas.openxmlformats.org/officeDocument/2006/relationships/package" Target="../embeddings/Microsoft_Excel_Worksheet2361.xlsx"/></Relationships>
</file>

<file path=ppt/charts/_rels/chart2363.xml.rels><?xml version='1.0' encoding='UTF-8' standalone='yes'?>
<Relationships xmlns="http://schemas.openxmlformats.org/package/2006/relationships"><Relationship Id="rId1" Type="http://schemas.openxmlformats.org/officeDocument/2006/relationships/themeOverride" Target="../theme/themeOverride2221.xml"/><Relationship Id="rId2" Type="http://schemas.openxmlformats.org/officeDocument/2006/relationships/package" Target="../embeddings/Microsoft_Excel_Worksheet2362.xlsx"/></Relationships>
</file>

<file path=ppt/charts/_rels/chart2364.xml.rels><?xml version='1.0' encoding='UTF-8' standalone='yes'?>
<Relationships xmlns="http://schemas.openxmlformats.org/package/2006/relationships"><Relationship Id="rId1" Type="http://schemas.openxmlformats.org/officeDocument/2006/relationships/themeOverride" Target="../theme/themeOverride2222.xml"/><Relationship Id="rId2" Type="http://schemas.openxmlformats.org/officeDocument/2006/relationships/package" Target="../embeddings/Microsoft_Excel_Worksheet2363.xlsx"/></Relationships>
</file>

<file path=ppt/charts/_rels/chart2365.xml.rels><?xml version='1.0' encoding='UTF-8' standalone='yes'?>
<Relationships xmlns="http://schemas.openxmlformats.org/package/2006/relationships"><Relationship Id="rId1" Type="http://schemas.openxmlformats.org/officeDocument/2006/relationships/themeOverride" Target="../theme/themeOverride2223.xml"/><Relationship Id="rId2" Type="http://schemas.openxmlformats.org/officeDocument/2006/relationships/package" Target="../embeddings/Microsoft_Excel_Worksheet2364.xlsx"/></Relationships>
</file>

<file path=ppt/charts/_rels/chart2366.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2365.xlsx"/></Relationships>
</file>

<file path=ppt/charts/_rels/chart2367.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2366.xlsx"/></Relationships>
</file>

<file path=ppt/charts/_rels/chart2398.xml.rels><?xml version='1.0' encoding='UTF-8' standalone='yes'?>
<Relationships xmlns="http://schemas.openxmlformats.org/package/2006/relationships"><Relationship Id="rId1" Type="http://schemas.openxmlformats.org/officeDocument/2006/relationships/themeOverride" Target="../theme/themeOverride2244.xml"/><Relationship Id="rId2" Type="http://schemas.openxmlformats.org/officeDocument/2006/relationships/package" Target="../embeddings/Microsoft_Excel_Worksheet2397.xlsx"/></Relationships>
</file>

<file path=ppt/charts/_rels/chart2399.xml.rels><?xml version='1.0' encoding='UTF-8' standalone='yes'?>
<Relationships xmlns="http://schemas.openxmlformats.org/package/2006/relationships"><Relationship Id="rId1" Type="http://schemas.openxmlformats.org/officeDocument/2006/relationships/themeOverride" Target="../theme/themeOverride2245.xml"/><Relationship Id="rId2" Type="http://schemas.openxmlformats.org/officeDocument/2006/relationships/package" Target="../embeddings/Microsoft_Excel_Worksheet2398.xlsx"/></Relationships>
</file>

<file path=ppt/charts/_rels/chart2400.xml.rels><?xml version='1.0' encoding='UTF-8' standalone='yes'?>
<Relationships xmlns="http://schemas.openxmlformats.org/package/2006/relationships"><Relationship Id="rId1" Type="http://schemas.openxmlformats.org/officeDocument/2006/relationships/themeOverride" Target="../theme/themeOverride2246.xml"/><Relationship Id="rId2" Type="http://schemas.openxmlformats.org/officeDocument/2006/relationships/package" Target="../embeddings/Microsoft_Excel_Worksheet2399.xlsx"/></Relationships>
</file>

<file path=ppt/charts/_rels/chart2401.xml.rels><?xml version='1.0' encoding='UTF-8' standalone='yes'?>
<Relationships xmlns="http://schemas.openxmlformats.org/package/2006/relationships"><Relationship Id="rId1" Type="http://schemas.openxmlformats.org/officeDocument/2006/relationships/themeOverride" Target="../theme/themeOverride2247.xml"/><Relationship Id="rId2" Type="http://schemas.openxmlformats.org/officeDocument/2006/relationships/package" Target="../embeddings/Microsoft_Excel_Worksheet2400.xlsx"/></Relationships>
</file>

<file path=ppt/charts/_rels/chart2402.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2401.xlsx"/></Relationships>
</file>

<file path=ppt/charts/_rels/chart2403.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2402.xlsx"/></Relationships>
</file>

<file path=ppt/charts/_rels/chart241.xml.rels><?xml version='1.0' encoding='UTF-8' standalone='yes'?>
<Relationships xmlns="http://schemas.openxmlformats.org/package/2006/relationships"><Relationship Id="rId1" Type="http://schemas.openxmlformats.org/officeDocument/2006/relationships/themeOverride" Target="../theme/themeOverride241.xml"/><Relationship Id="rId2"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themeOverride" Target="../theme/themeOverride242.xml"/><Relationship Id="rId2" Type="http://schemas.openxmlformats.org/officeDocument/2006/relationships/package" Target="../embeddings/Microsoft_Excel_Worksheet241.xlsx"/></Relationships>
</file>

<file path=ppt/charts/_rels/chart2422.xml.rels><?xml version='1.0' encoding='UTF-8' standalone='yes'?>
<Relationships xmlns="http://schemas.openxmlformats.org/package/2006/relationships"><Relationship Id="rId1" Type="http://schemas.openxmlformats.org/officeDocument/2006/relationships/themeOverride" Target="../theme/themeOverride2260.xml"/><Relationship Id="rId2" Type="http://schemas.openxmlformats.org/officeDocument/2006/relationships/package" Target="../embeddings/Microsoft_Excel_Worksheet2421.xlsx"/></Relationships>
</file>

<file path=ppt/charts/_rels/chart2423.xml.rels><?xml version='1.0' encoding='UTF-8' standalone='yes'?>
<Relationships xmlns="http://schemas.openxmlformats.org/package/2006/relationships"><Relationship Id="rId1" Type="http://schemas.openxmlformats.org/officeDocument/2006/relationships/themeOverride" Target="../theme/themeOverride2261.xml"/><Relationship Id="rId2" Type="http://schemas.openxmlformats.org/officeDocument/2006/relationships/package" Target="../embeddings/Microsoft_Excel_Worksheet2422.xlsx"/></Relationships>
</file>

<file path=ppt/charts/_rels/chart2424.xml.rels><?xml version='1.0' encoding='UTF-8' standalone='yes'?>
<Relationships xmlns="http://schemas.openxmlformats.org/package/2006/relationships"><Relationship Id="rId1" Type="http://schemas.openxmlformats.org/officeDocument/2006/relationships/themeOverride" Target="../theme/themeOverride2262.xml"/><Relationship Id="rId2" Type="http://schemas.openxmlformats.org/officeDocument/2006/relationships/package" Target="../embeddings/Microsoft_Excel_Worksheet2423.xlsx"/></Relationships>
</file>

<file path=ppt/charts/_rels/chart2425.xml.rels><?xml version='1.0' encoding='UTF-8' standalone='yes'?>
<Relationships xmlns="http://schemas.openxmlformats.org/package/2006/relationships"><Relationship Id="rId1" Type="http://schemas.openxmlformats.org/officeDocument/2006/relationships/themeOverride" Target="../theme/themeOverride2263.xml"/><Relationship Id="rId2" Type="http://schemas.openxmlformats.org/officeDocument/2006/relationships/package" Target="../embeddings/Microsoft_Excel_Worksheet2424.xlsx"/></Relationships>
</file>

<file path=ppt/charts/_rels/chart2426.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2425.xlsx"/></Relationships>
</file>

<file path=ppt/charts/_rels/chart2427.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2426.xlsx"/></Relationships>
</file>

<file path=ppt/charts/_rels/chart2428.xml.rels><?xml version='1.0' encoding='UTF-8' standalone='yes'?>
<Relationships xmlns="http://schemas.openxmlformats.org/package/2006/relationships"><Relationship Id="rId1" Type="http://schemas.openxmlformats.org/officeDocument/2006/relationships/themeOverride" Target="../theme/themeOverride2264.xml"/><Relationship Id="rId2" Type="http://schemas.openxmlformats.org/officeDocument/2006/relationships/package" Target="../embeddings/Microsoft_Excel_Worksheet2427.xlsx"/></Relationships>
</file>

<file path=ppt/charts/_rels/chart2429.xml.rels><?xml version='1.0' encoding='UTF-8' standalone='yes'?>
<Relationships xmlns="http://schemas.openxmlformats.org/package/2006/relationships"><Relationship Id="rId1" Type="http://schemas.openxmlformats.org/officeDocument/2006/relationships/themeOverride" Target="../theme/themeOverride2265.xml"/><Relationship Id="rId2" Type="http://schemas.openxmlformats.org/officeDocument/2006/relationships/package" Target="../embeddings/Microsoft_Excel_Worksheet2428.xlsx"/></Relationships>
</file>

<file path=ppt/charts/_rels/chart243.xml.rels><?xml version='1.0' encoding='UTF-8' standalone='yes'?>
<Relationships xmlns="http://schemas.openxmlformats.org/package/2006/relationships"><Relationship Id="rId1" Type="http://schemas.openxmlformats.org/officeDocument/2006/relationships/themeOverride" Target="../theme/themeOverride243.xml"/><Relationship Id="rId2" Type="http://schemas.openxmlformats.org/officeDocument/2006/relationships/package" Target="../embeddings/Microsoft_Excel_Worksheet242.xlsx"/></Relationships>
</file>

<file path=ppt/charts/_rels/chart2430.xml.rels><?xml version='1.0' encoding='UTF-8' standalone='yes'?>
<Relationships xmlns="http://schemas.openxmlformats.org/package/2006/relationships"><Relationship Id="rId1" Type="http://schemas.openxmlformats.org/officeDocument/2006/relationships/themeOverride" Target="../theme/themeOverride2266.xml"/><Relationship Id="rId2" Type="http://schemas.openxmlformats.org/officeDocument/2006/relationships/package" Target="../embeddings/Microsoft_Excel_Worksheet2429.xlsx"/></Relationships>
</file>

<file path=ppt/charts/_rels/chart2431.xml.rels><?xml version='1.0' encoding='UTF-8' standalone='yes'?>
<Relationships xmlns="http://schemas.openxmlformats.org/package/2006/relationships"><Relationship Id="rId1" Type="http://schemas.openxmlformats.org/officeDocument/2006/relationships/themeOverride" Target="../theme/themeOverride2267.xml"/><Relationship Id="rId2" Type="http://schemas.openxmlformats.org/officeDocument/2006/relationships/package" Target="../embeddings/Microsoft_Excel_Worksheet2430.xlsx"/></Relationships>
</file>

<file path=ppt/charts/_rels/chart2432.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2431.xlsx"/></Relationships>
</file>

<file path=ppt/charts/_rels/chart2433.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2432.xlsx"/></Relationships>
</file>

<file path=ppt/charts/_rels/chart244.xml.rels><?xml version='1.0' encoding='UTF-8' standalone='yes'?>
<Relationships xmlns="http://schemas.openxmlformats.org/package/2006/relationships"><Relationship Id="rId1" Type="http://schemas.openxmlformats.org/officeDocument/2006/relationships/themeOverride" Target="../theme/themeOverride244.xml"/><Relationship Id="rId2" Type="http://schemas.openxmlformats.org/officeDocument/2006/relationships/package" Target="../embeddings/Microsoft_Excel_Worksheet243.xlsx"/></Relationships>
</file>

<file path=ppt/charts/_rels/chart2440.xml.rels><?xml version='1.0' encoding='UTF-8' standalone='yes'?>
<Relationships xmlns="http://schemas.openxmlformats.org/package/2006/relationships"><Relationship Id="rId1" Type="http://schemas.openxmlformats.org/officeDocument/2006/relationships/themeOverride" Target="../theme/themeOverride2272.xml"/><Relationship Id="rId2" Type="http://schemas.openxmlformats.org/officeDocument/2006/relationships/package" Target="../embeddings/Microsoft_Excel_Worksheet2439.xlsx"/></Relationships>
</file>

<file path=ppt/charts/_rels/chart2441.xml.rels><?xml version='1.0' encoding='UTF-8' standalone='yes'?>
<Relationships xmlns="http://schemas.openxmlformats.org/package/2006/relationships"><Relationship Id="rId1" Type="http://schemas.openxmlformats.org/officeDocument/2006/relationships/themeOverride" Target="../theme/themeOverride2273.xml"/><Relationship Id="rId2" Type="http://schemas.openxmlformats.org/officeDocument/2006/relationships/package" Target="../embeddings/Microsoft_Excel_Worksheet2440.xlsx"/></Relationships>
</file>

<file path=ppt/charts/_rels/chart2442.xml.rels><?xml version='1.0' encoding='UTF-8' standalone='yes'?>
<Relationships xmlns="http://schemas.openxmlformats.org/package/2006/relationships"><Relationship Id="rId1" Type="http://schemas.openxmlformats.org/officeDocument/2006/relationships/themeOverride" Target="../theme/themeOverride2274.xml"/><Relationship Id="rId2" Type="http://schemas.openxmlformats.org/officeDocument/2006/relationships/package" Target="../embeddings/Microsoft_Excel_Worksheet2441.xlsx"/></Relationships>
</file>

<file path=ppt/charts/_rels/chart2443.xml.rels><?xml version='1.0' encoding='UTF-8' standalone='yes'?>
<Relationships xmlns="http://schemas.openxmlformats.org/package/2006/relationships"><Relationship Id="rId1" Type="http://schemas.openxmlformats.org/officeDocument/2006/relationships/themeOverride" Target="../theme/themeOverride2275.xml"/><Relationship Id="rId2" Type="http://schemas.openxmlformats.org/officeDocument/2006/relationships/package" Target="../embeddings/Microsoft_Excel_Worksheet2442.xlsx"/></Relationships>
</file>

<file path=ppt/charts/_rels/chart2444.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2443.xlsx"/></Relationships>
</file>

<file path=ppt/charts/_rels/chart2445.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2444.xlsx"/></Relationships>
</file>

<file path=ppt/charts/_rels/chart245.xml.rels><?xml version='1.0' encoding='UTF-8' standalone='yes'?>
<Relationships xmlns="http://schemas.openxmlformats.org/package/2006/relationships"><Relationship Id="rId1" Type="http://schemas.openxmlformats.org/officeDocument/2006/relationships/themeOverride" Target="../theme/themeOverride245.xml"/><Relationship Id="rId2"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themeOverride" Target="../theme/themeOverride246.xml"/><Relationship Id="rId2" Type="http://schemas.openxmlformats.org/officeDocument/2006/relationships/package" Target="../embeddings/Microsoft_Excel_Worksheet245.xlsx"/></Relationships>
</file>

<file path=ppt/charts/_rels/chart2464.xml.rels><?xml version='1.0' encoding='UTF-8' standalone='yes'?>
<Relationships xmlns="http://schemas.openxmlformats.org/package/2006/relationships"><Relationship Id="rId1" Type="http://schemas.openxmlformats.org/officeDocument/2006/relationships/themeOverride" Target="../theme/themeOverride2288.xml"/><Relationship Id="rId2" Type="http://schemas.openxmlformats.org/officeDocument/2006/relationships/package" Target="../embeddings/Microsoft_Excel_Worksheet2463.xlsx"/></Relationships>
</file>

<file path=ppt/charts/_rels/chart2465.xml.rels><?xml version='1.0' encoding='UTF-8' standalone='yes'?>
<Relationships xmlns="http://schemas.openxmlformats.org/package/2006/relationships"><Relationship Id="rId1" Type="http://schemas.openxmlformats.org/officeDocument/2006/relationships/themeOverride" Target="../theme/themeOverride2289.xml"/><Relationship Id="rId2" Type="http://schemas.openxmlformats.org/officeDocument/2006/relationships/package" Target="../embeddings/Microsoft_Excel_Worksheet2464.xlsx"/></Relationships>
</file>

<file path=ppt/charts/_rels/chart2466.xml.rels><?xml version='1.0' encoding='UTF-8' standalone='yes'?>
<Relationships xmlns="http://schemas.openxmlformats.org/package/2006/relationships"><Relationship Id="rId1" Type="http://schemas.openxmlformats.org/officeDocument/2006/relationships/themeOverride" Target="../theme/themeOverride2290.xml"/><Relationship Id="rId2" Type="http://schemas.openxmlformats.org/officeDocument/2006/relationships/package" Target="../embeddings/Microsoft_Excel_Worksheet2465.xlsx"/></Relationships>
</file>

<file path=ppt/charts/_rels/chart2467.xml.rels><?xml version='1.0' encoding='UTF-8' standalone='yes'?>
<Relationships xmlns="http://schemas.openxmlformats.org/package/2006/relationships"><Relationship Id="rId1" Type="http://schemas.openxmlformats.org/officeDocument/2006/relationships/themeOverride" Target="../theme/themeOverride2291.xml"/><Relationship Id="rId2" Type="http://schemas.openxmlformats.org/officeDocument/2006/relationships/package" Target="../embeddings/Microsoft_Excel_Worksheet2466.xlsx"/></Relationships>
</file>

<file path=ppt/charts/_rels/chart2468.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2467.xlsx"/></Relationships>
</file>

<file path=ppt/charts/_rels/chart2469.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2468.xlsx"/></Relationships>
</file>

<file path=ppt/charts/_rels/chart247.xml.rels><?xml version='1.0' encoding='UTF-8' standalone='yes'?>
<Relationships xmlns="http://schemas.openxmlformats.org/package/2006/relationships"><Relationship Id="rId1" Type="http://schemas.openxmlformats.org/officeDocument/2006/relationships/themeOverride" Target="../theme/themeOverride247.xml"/><Relationship Id="rId2"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themeOverride" Target="../theme/themeOverride248.xml"/><Relationship Id="rId2" Type="http://schemas.openxmlformats.org/officeDocument/2006/relationships/package" Target="../embeddings/Microsoft_Excel_Worksheet247.xlsx"/></Relationships>
</file>

<file path=ppt/charts/_rels/chart2488.xml.rels><?xml version='1.0' encoding='UTF-8' standalone='yes'?>
<Relationships xmlns="http://schemas.openxmlformats.org/package/2006/relationships"><Relationship Id="rId1" Type="http://schemas.openxmlformats.org/officeDocument/2006/relationships/themeOverride" Target="../theme/themeOverride2304.xml"/><Relationship Id="rId2" Type="http://schemas.openxmlformats.org/officeDocument/2006/relationships/package" Target="../embeddings/Microsoft_Excel_Worksheet2487.xlsx"/></Relationships>
</file>

<file path=ppt/charts/_rels/chart2489.xml.rels><?xml version='1.0' encoding='UTF-8' standalone='yes'?>
<Relationships xmlns="http://schemas.openxmlformats.org/package/2006/relationships"><Relationship Id="rId1" Type="http://schemas.openxmlformats.org/officeDocument/2006/relationships/themeOverride" Target="../theme/themeOverride2305.xml"/><Relationship Id="rId2" Type="http://schemas.openxmlformats.org/officeDocument/2006/relationships/package" Target="../embeddings/Microsoft_Excel_Worksheet2488.xlsx"/></Relationships>
</file>

<file path=ppt/charts/_rels/chart249.xml.rels><?xml version='1.0' encoding='UTF-8' standalone='yes'?>
<Relationships xmlns="http://schemas.openxmlformats.org/package/2006/relationships"><Relationship Id="rId1" Type="http://schemas.openxmlformats.org/officeDocument/2006/relationships/themeOverride" Target="../theme/themeOverride249.xml"/><Relationship Id="rId2" Type="http://schemas.openxmlformats.org/officeDocument/2006/relationships/package" Target="../embeddings/Microsoft_Excel_Worksheet248.xlsx"/></Relationships>
</file>

<file path=ppt/charts/_rels/chart2490.xml.rels><?xml version='1.0' encoding='UTF-8' standalone='yes'?>
<Relationships xmlns="http://schemas.openxmlformats.org/package/2006/relationships"><Relationship Id="rId1" Type="http://schemas.openxmlformats.org/officeDocument/2006/relationships/themeOverride" Target="../theme/themeOverride2306.xml"/><Relationship Id="rId2" Type="http://schemas.openxmlformats.org/officeDocument/2006/relationships/package" Target="../embeddings/Microsoft_Excel_Worksheet2489.xlsx"/></Relationships>
</file>

<file path=ppt/charts/_rels/chart2491.xml.rels><?xml version='1.0' encoding='UTF-8' standalone='yes'?>
<Relationships xmlns="http://schemas.openxmlformats.org/package/2006/relationships"><Relationship Id="rId1" Type="http://schemas.openxmlformats.org/officeDocument/2006/relationships/themeOverride" Target="../theme/themeOverride2307.xml"/><Relationship Id="rId2" Type="http://schemas.openxmlformats.org/officeDocument/2006/relationships/package" Target="../embeddings/Microsoft_Excel_Worksheet2490.xlsx"/></Relationships>
</file>

<file path=ppt/charts/_rels/chart2492.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2491.xlsx"/></Relationships>
</file>

<file path=ppt/charts/_rels/chart2493.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2492.xlsx"/></Relationships>
</file>

<file path=ppt/charts/_rels/chart2494.xml.rels><?xml version='1.0' encoding='UTF-8' standalone='yes'?>
<Relationships xmlns="http://schemas.openxmlformats.org/package/2006/relationships"><Relationship Id="rId1" Type="http://schemas.openxmlformats.org/officeDocument/2006/relationships/themeOverride" Target="../theme/themeOverride2308.xml"/><Relationship Id="rId2" Type="http://schemas.openxmlformats.org/officeDocument/2006/relationships/package" Target="../embeddings/Microsoft_Excel_Worksheet2493.xlsx"/></Relationships>
</file>

<file path=ppt/charts/_rels/chart2495.xml.rels><?xml version='1.0' encoding='UTF-8' standalone='yes'?>
<Relationships xmlns="http://schemas.openxmlformats.org/package/2006/relationships"><Relationship Id="rId1" Type="http://schemas.openxmlformats.org/officeDocument/2006/relationships/themeOverride" Target="../theme/themeOverride2309.xml"/><Relationship Id="rId2" Type="http://schemas.openxmlformats.org/officeDocument/2006/relationships/package" Target="../embeddings/Microsoft_Excel_Worksheet2494.xlsx"/></Relationships>
</file>

<file path=ppt/charts/_rels/chart2496.xml.rels><?xml version='1.0' encoding='UTF-8' standalone='yes'?>
<Relationships xmlns="http://schemas.openxmlformats.org/package/2006/relationships"><Relationship Id="rId1" Type="http://schemas.openxmlformats.org/officeDocument/2006/relationships/themeOverride" Target="../theme/themeOverride2310.xml"/><Relationship Id="rId2" Type="http://schemas.openxmlformats.org/officeDocument/2006/relationships/package" Target="../embeddings/Microsoft_Excel_Worksheet2495.xlsx"/></Relationships>
</file>

<file path=ppt/charts/_rels/chart2497.xml.rels><?xml version='1.0' encoding='UTF-8' standalone='yes'?>
<Relationships xmlns="http://schemas.openxmlformats.org/package/2006/relationships"><Relationship Id="rId1" Type="http://schemas.openxmlformats.org/officeDocument/2006/relationships/themeOverride" Target="../theme/themeOverride2311.xml"/><Relationship Id="rId2" Type="http://schemas.openxmlformats.org/officeDocument/2006/relationships/package" Target="../embeddings/Microsoft_Excel_Worksheet2496.xlsx"/></Relationships>
</file>

<file path=ppt/charts/_rels/chart2498.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2497.xlsx"/></Relationships>
</file>

<file path=ppt/charts/_rels/chart2499.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2498.xlsx"/></Relationships>
</file>

<file path=ppt/charts/_rels/chart250.xml.rels><?xml version='1.0' encoding='UTF-8' standalone='yes'?>
<Relationships xmlns="http://schemas.openxmlformats.org/package/2006/relationships"><Relationship Id="rId1" Type="http://schemas.openxmlformats.org/officeDocument/2006/relationships/themeOverride" Target="../theme/themeOverride250.xml"/><Relationship Id="rId2" Type="http://schemas.openxmlformats.org/officeDocument/2006/relationships/package" Target="../embeddings/Microsoft_Excel_Worksheet249.xlsx"/></Relationships>
</file>

<file path=ppt/charts/_rels/chart2506.xml.rels><?xml version='1.0' encoding='UTF-8' standalone='yes'?>
<Relationships xmlns="http://schemas.openxmlformats.org/package/2006/relationships"><Relationship Id="rId1" Type="http://schemas.openxmlformats.org/officeDocument/2006/relationships/themeOverride" Target="../theme/themeOverride2316.xml"/><Relationship Id="rId2" Type="http://schemas.openxmlformats.org/officeDocument/2006/relationships/package" Target="../embeddings/Microsoft_Excel_Worksheet2505.xlsx"/></Relationships>
</file>

<file path=ppt/charts/_rels/chart2507.xml.rels><?xml version='1.0' encoding='UTF-8' standalone='yes'?>
<Relationships xmlns="http://schemas.openxmlformats.org/package/2006/relationships"><Relationship Id="rId1" Type="http://schemas.openxmlformats.org/officeDocument/2006/relationships/themeOverride" Target="../theme/themeOverride2317.xml"/><Relationship Id="rId2" Type="http://schemas.openxmlformats.org/officeDocument/2006/relationships/package" Target="../embeddings/Microsoft_Excel_Worksheet2506.xlsx"/></Relationships>
</file>

<file path=ppt/charts/_rels/chart2508.xml.rels><?xml version='1.0' encoding='UTF-8' standalone='yes'?>
<Relationships xmlns="http://schemas.openxmlformats.org/package/2006/relationships"><Relationship Id="rId1" Type="http://schemas.openxmlformats.org/officeDocument/2006/relationships/themeOverride" Target="../theme/themeOverride2318.xml"/><Relationship Id="rId2" Type="http://schemas.openxmlformats.org/officeDocument/2006/relationships/package" Target="../embeddings/Microsoft_Excel_Worksheet2507.xlsx"/></Relationships>
</file>

<file path=ppt/charts/_rels/chart2509.xml.rels><?xml version='1.0' encoding='UTF-8' standalone='yes'?>
<Relationships xmlns="http://schemas.openxmlformats.org/package/2006/relationships"><Relationship Id="rId1" Type="http://schemas.openxmlformats.org/officeDocument/2006/relationships/themeOverride" Target="../theme/themeOverride2319.xml"/><Relationship Id="rId2" Type="http://schemas.openxmlformats.org/officeDocument/2006/relationships/package" Target="../embeddings/Microsoft_Excel_Worksheet2508.xlsx"/></Relationships>
</file>

<file path=ppt/charts/_rels/chart2510.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2509.xlsx"/></Relationships>
</file>

<file path=ppt/charts/_rels/chart2511.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2510.xlsx"/></Relationships>
</file>

<file path=ppt/charts/_rels/chart2530.xml.rels><?xml version='1.0' encoding='UTF-8' standalone='yes'?>
<Relationships xmlns="http://schemas.openxmlformats.org/package/2006/relationships"><Relationship Id="rId1" Type="http://schemas.openxmlformats.org/officeDocument/2006/relationships/themeOverride" Target="../theme/themeOverride2332.xml"/><Relationship Id="rId2" Type="http://schemas.openxmlformats.org/officeDocument/2006/relationships/package" Target="../embeddings/Microsoft_Excel_Worksheet2529.xlsx"/></Relationships>
</file>

<file path=ppt/charts/_rels/chart2531.xml.rels><?xml version='1.0' encoding='UTF-8' standalone='yes'?>
<Relationships xmlns="http://schemas.openxmlformats.org/package/2006/relationships"><Relationship Id="rId1" Type="http://schemas.openxmlformats.org/officeDocument/2006/relationships/themeOverride" Target="../theme/themeOverride2333.xml"/><Relationship Id="rId2" Type="http://schemas.openxmlformats.org/officeDocument/2006/relationships/package" Target="../embeddings/Microsoft_Excel_Worksheet2530.xlsx"/></Relationships>
</file>

<file path=ppt/charts/_rels/chart2532.xml.rels><?xml version='1.0' encoding='UTF-8' standalone='yes'?>
<Relationships xmlns="http://schemas.openxmlformats.org/package/2006/relationships"><Relationship Id="rId1" Type="http://schemas.openxmlformats.org/officeDocument/2006/relationships/themeOverride" Target="../theme/themeOverride2334.xml"/><Relationship Id="rId2" Type="http://schemas.openxmlformats.org/officeDocument/2006/relationships/package" Target="../embeddings/Microsoft_Excel_Worksheet2531.xlsx"/></Relationships>
</file>

<file path=ppt/charts/_rels/chart2533.xml.rels><?xml version='1.0' encoding='UTF-8' standalone='yes'?>
<Relationships xmlns="http://schemas.openxmlformats.org/package/2006/relationships"><Relationship Id="rId1" Type="http://schemas.openxmlformats.org/officeDocument/2006/relationships/themeOverride" Target="../theme/themeOverride2335.xml"/><Relationship Id="rId2" Type="http://schemas.openxmlformats.org/officeDocument/2006/relationships/package" Target="../embeddings/Microsoft_Excel_Worksheet2532.xlsx"/></Relationships>
</file>

<file path=ppt/charts/_rels/chart2534.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2533.xlsx"/></Relationships>
</file>

<file path=ppt/charts/_rels/chart2535.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2534.xlsx"/></Relationships>
</file>

<file path=ppt/charts/_rels/chart2554.xml.rels><?xml version='1.0' encoding='UTF-8' standalone='yes'?>
<Relationships xmlns="http://schemas.openxmlformats.org/package/2006/relationships"><Relationship Id="rId1" Type="http://schemas.openxmlformats.org/officeDocument/2006/relationships/themeOverride" Target="../theme/themeOverride2348.xml"/><Relationship Id="rId2" Type="http://schemas.openxmlformats.org/officeDocument/2006/relationships/package" Target="../embeddings/Microsoft_Excel_Worksheet2553.xlsx"/></Relationships>
</file>

<file path=ppt/charts/_rels/chart2555.xml.rels><?xml version='1.0' encoding='UTF-8' standalone='yes'?>
<Relationships xmlns="http://schemas.openxmlformats.org/package/2006/relationships"><Relationship Id="rId1" Type="http://schemas.openxmlformats.org/officeDocument/2006/relationships/themeOverride" Target="../theme/themeOverride2349.xml"/><Relationship Id="rId2" Type="http://schemas.openxmlformats.org/officeDocument/2006/relationships/package" Target="../embeddings/Microsoft_Excel_Worksheet2554.xlsx"/></Relationships>
</file>

<file path=ppt/charts/_rels/chart2556.xml.rels><?xml version='1.0' encoding='UTF-8' standalone='yes'?>
<Relationships xmlns="http://schemas.openxmlformats.org/package/2006/relationships"><Relationship Id="rId1" Type="http://schemas.openxmlformats.org/officeDocument/2006/relationships/themeOverride" Target="../theme/themeOverride2350.xml"/><Relationship Id="rId2" Type="http://schemas.openxmlformats.org/officeDocument/2006/relationships/package" Target="../embeddings/Microsoft_Excel_Worksheet2555.xlsx"/></Relationships>
</file>

<file path=ppt/charts/_rels/chart2557.xml.rels><?xml version='1.0' encoding='UTF-8' standalone='yes'?>
<Relationships xmlns="http://schemas.openxmlformats.org/package/2006/relationships"><Relationship Id="rId1" Type="http://schemas.openxmlformats.org/officeDocument/2006/relationships/themeOverride" Target="../theme/themeOverride2351.xml"/><Relationship Id="rId2" Type="http://schemas.openxmlformats.org/officeDocument/2006/relationships/package" Target="../embeddings/Microsoft_Excel_Worksheet2556.xlsx"/></Relationships>
</file>

<file path=ppt/charts/_rels/chart2558.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557.xlsx"/></Relationships>
</file>

<file path=ppt/charts/_rels/chart2559.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558.xlsx"/></Relationships>
</file>

<file path=ppt/charts/_rels/chart2572.xml.rels><?xml version='1.0' encoding='UTF-8' standalone='yes'?>
<Relationships xmlns="http://schemas.openxmlformats.org/package/2006/relationships"><Relationship Id="rId1" Type="http://schemas.openxmlformats.org/officeDocument/2006/relationships/themeOverride" Target="../theme/themeOverride2360.xml"/><Relationship Id="rId2" Type="http://schemas.openxmlformats.org/officeDocument/2006/relationships/package" Target="../embeddings/Microsoft_Excel_Worksheet2571.xlsx"/></Relationships>
</file>

<file path=ppt/charts/_rels/chart2573.xml.rels><?xml version='1.0' encoding='UTF-8' standalone='yes'?>
<Relationships xmlns="http://schemas.openxmlformats.org/package/2006/relationships"><Relationship Id="rId1" Type="http://schemas.openxmlformats.org/officeDocument/2006/relationships/themeOverride" Target="../theme/themeOverride2361.xml"/><Relationship Id="rId2" Type="http://schemas.openxmlformats.org/officeDocument/2006/relationships/package" Target="../embeddings/Microsoft_Excel_Worksheet2572.xlsx"/></Relationships>
</file>

<file path=ppt/charts/_rels/chart2574.xml.rels><?xml version='1.0' encoding='UTF-8' standalone='yes'?>
<Relationships xmlns="http://schemas.openxmlformats.org/package/2006/relationships"><Relationship Id="rId1" Type="http://schemas.openxmlformats.org/officeDocument/2006/relationships/themeOverride" Target="../theme/themeOverride2362.xml"/><Relationship Id="rId2" Type="http://schemas.openxmlformats.org/officeDocument/2006/relationships/package" Target="../embeddings/Microsoft_Excel_Worksheet2573.xlsx"/></Relationships>
</file>

<file path=ppt/charts/_rels/chart2575.xml.rels><?xml version='1.0' encoding='UTF-8' standalone='yes'?>
<Relationships xmlns="http://schemas.openxmlformats.org/package/2006/relationships"><Relationship Id="rId1" Type="http://schemas.openxmlformats.org/officeDocument/2006/relationships/themeOverride" Target="../theme/themeOverride2363.xml"/><Relationship Id="rId2" Type="http://schemas.openxmlformats.org/officeDocument/2006/relationships/package" Target="../embeddings/Microsoft_Excel_Worksheet2574.xlsx"/></Relationships>
</file>

<file path=ppt/charts/_rels/chart2576.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575.xlsx"/></Relationships>
</file>

<file path=ppt/charts/_rels/chart2577.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576.xlsx"/></Relationships>
</file>

<file path=ppt/charts/_rels/chart2596.xml.rels><?xml version='1.0' encoding='UTF-8' standalone='yes'?>
<Relationships xmlns="http://schemas.openxmlformats.org/package/2006/relationships"><Relationship Id="rId1" Type="http://schemas.openxmlformats.org/officeDocument/2006/relationships/themeOverride" Target="../theme/themeOverride2376.xml"/><Relationship Id="rId2" Type="http://schemas.openxmlformats.org/officeDocument/2006/relationships/package" Target="../embeddings/Microsoft_Excel_Worksheet2595.xlsx"/></Relationships>
</file>

<file path=ppt/charts/_rels/chart2597.xml.rels><?xml version='1.0' encoding='UTF-8' standalone='yes'?>
<Relationships xmlns="http://schemas.openxmlformats.org/package/2006/relationships"><Relationship Id="rId1" Type="http://schemas.openxmlformats.org/officeDocument/2006/relationships/themeOverride" Target="../theme/themeOverride2377.xml"/><Relationship Id="rId2" Type="http://schemas.openxmlformats.org/officeDocument/2006/relationships/package" Target="../embeddings/Microsoft_Excel_Worksheet2596.xlsx"/></Relationships>
</file>

<file path=ppt/charts/_rels/chart2598.xml.rels><?xml version='1.0' encoding='UTF-8' standalone='yes'?>
<Relationships xmlns="http://schemas.openxmlformats.org/package/2006/relationships"><Relationship Id="rId1" Type="http://schemas.openxmlformats.org/officeDocument/2006/relationships/themeOverride" Target="../theme/themeOverride2378.xml"/><Relationship Id="rId2" Type="http://schemas.openxmlformats.org/officeDocument/2006/relationships/package" Target="../embeddings/Microsoft_Excel_Worksheet2597.xlsx"/></Relationships>
</file>

<file path=ppt/charts/_rels/chart2599.xml.rels><?xml version='1.0' encoding='UTF-8' standalone='yes'?>
<Relationships xmlns="http://schemas.openxmlformats.org/package/2006/relationships"><Relationship Id="rId1" Type="http://schemas.openxmlformats.org/officeDocument/2006/relationships/themeOverride" Target="../theme/themeOverride2379.xml"/><Relationship Id="rId2" Type="http://schemas.openxmlformats.org/officeDocument/2006/relationships/package" Target="../embeddings/Microsoft_Excel_Worksheet2598.xlsx"/></Relationships>
</file>

<file path=ppt/charts/_rels/chart2600.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599.xlsx"/></Relationships>
</file>

<file path=ppt/charts/_rels/chart2601.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600.xlsx"/></Relationships>
</file>

<file path=ppt/charts/_rels/chart2638.xml.rels><?xml version='1.0' encoding='UTF-8' standalone='yes'?>
<Relationships xmlns="http://schemas.openxmlformats.org/package/2006/relationships"><Relationship Id="rId1" Type="http://schemas.openxmlformats.org/officeDocument/2006/relationships/themeOverride" Target="../theme/themeOverride2404.xml"/><Relationship Id="rId2" Type="http://schemas.openxmlformats.org/officeDocument/2006/relationships/package" Target="../embeddings/Microsoft_Excel_Worksheet2637.xlsx"/></Relationships>
</file>

<file path=ppt/charts/_rels/chart2639.xml.rels><?xml version='1.0' encoding='UTF-8' standalone='yes'?>
<Relationships xmlns="http://schemas.openxmlformats.org/package/2006/relationships"><Relationship Id="rId1" Type="http://schemas.openxmlformats.org/officeDocument/2006/relationships/themeOverride" Target="../theme/themeOverride2405.xml"/><Relationship Id="rId2" Type="http://schemas.openxmlformats.org/officeDocument/2006/relationships/package" Target="../embeddings/Microsoft_Excel_Worksheet2638.xlsx"/></Relationships>
</file>

<file path=ppt/charts/_rels/chart2640.xml.rels><?xml version='1.0' encoding='UTF-8' standalone='yes'?>
<Relationships xmlns="http://schemas.openxmlformats.org/package/2006/relationships"><Relationship Id="rId1" Type="http://schemas.openxmlformats.org/officeDocument/2006/relationships/themeOverride" Target="../theme/themeOverride2406.xml"/><Relationship Id="rId2" Type="http://schemas.openxmlformats.org/officeDocument/2006/relationships/package" Target="../embeddings/Microsoft_Excel_Worksheet2639.xlsx"/></Relationships>
</file>

<file path=ppt/charts/_rels/chart2641.xml.rels><?xml version='1.0' encoding='UTF-8' standalone='yes'?>
<Relationships xmlns="http://schemas.openxmlformats.org/package/2006/relationships"><Relationship Id="rId1" Type="http://schemas.openxmlformats.org/officeDocument/2006/relationships/themeOverride" Target="../theme/themeOverride2407.xml"/><Relationship Id="rId2" Type="http://schemas.openxmlformats.org/officeDocument/2006/relationships/package" Target="../embeddings/Microsoft_Excel_Worksheet2640.xlsx"/></Relationships>
</file>

<file path=ppt/charts/_rels/chart2642.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641.xlsx"/></Relationships>
</file>

<file path=ppt/charts/_rels/chart2643.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642.xlsx"/></Relationships>
</file>

<file path=ppt/charts/_rels/chart266.xml.rels><?xml version='1.0' encoding='UTF-8' standalone='yes'?>
<Relationships xmlns="http://schemas.openxmlformats.org/package/2006/relationships"><Relationship Id="rId1" Type="http://schemas.openxmlformats.org/officeDocument/2006/relationships/themeOverride" Target="../theme/themeOverride266.xml"/><Relationship Id="rId2" Type="http://schemas.openxmlformats.org/officeDocument/2006/relationships/package" Target="../embeddings/Microsoft_Excel_Worksheet265.xlsx"/></Relationships>
</file>

<file path=ppt/charts/_rels/chart2662.xml.rels><?xml version='1.0' encoding='UTF-8' standalone='yes'?>
<Relationships xmlns="http://schemas.openxmlformats.org/package/2006/relationships"><Relationship Id="rId1" Type="http://schemas.openxmlformats.org/officeDocument/2006/relationships/themeOverride" Target="../theme/themeOverride2420.xml"/><Relationship Id="rId2" Type="http://schemas.openxmlformats.org/officeDocument/2006/relationships/package" Target="../embeddings/Microsoft_Excel_Worksheet2661.xlsx"/></Relationships>
</file>

<file path=ppt/charts/_rels/chart2663.xml.rels><?xml version='1.0' encoding='UTF-8' standalone='yes'?>
<Relationships xmlns="http://schemas.openxmlformats.org/package/2006/relationships"><Relationship Id="rId1" Type="http://schemas.openxmlformats.org/officeDocument/2006/relationships/themeOverride" Target="../theme/themeOverride2421.xml"/><Relationship Id="rId2" Type="http://schemas.openxmlformats.org/officeDocument/2006/relationships/package" Target="../embeddings/Microsoft_Excel_Worksheet2662.xlsx"/></Relationships>
</file>

<file path=ppt/charts/_rels/chart2664.xml.rels><?xml version='1.0' encoding='UTF-8' standalone='yes'?>
<Relationships xmlns="http://schemas.openxmlformats.org/package/2006/relationships"><Relationship Id="rId1" Type="http://schemas.openxmlformats.org/officeDocument/2006/relationships/themeOverride" Target="../theme/themeOverride2422.xml"/><Relationship Id="rId2" Type="http://schemas.openxmlformats.org/officeDocument/2006/relationships/package" Target="../embeddings/Microsoft_Excel_Worksheet2663.xlsx"/></Relationships>
</file>

<file path=ppt/charts/_rels/chart2665.xml.rels><?xml version='1.0' encoding='UTF-8' standalone='yes'?>
<Relationships xmlns="http://schemas.openxmlformats.org/package/2006/relationships"><Relationship Id="rId1" Type="http://schemas.openxmlformats.org/officeDocument/2006/relationships/themeOverride" Target="../theme/themeOverride2423.xml"/><Relationship Id="rId2" Type="http://schemas.openxmlformats.org/officeDocument/2006/relationships/package" Target="../embeddings/Microsoft_Excel_Worksheet2664.xlsx"/></Relationships>
</file>

<file path=ppt/charts/_rels/chart2666.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2665.xlsx"/></Relationships>
</file>

<file path=ppt/charts/_rels/chart2667.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2666.xlsx"/></Relationships>
</file>

<file path=ppt/charts/_rels/chart267.xml.rels><?xml version='1.0' encoding='UTF-8' standalone='yes'?>
<Relationships xmlns="http://schemas.openxmlformats.org/package/2006/relationships"><Relationship Id="rId1" Type="http://schemas.openxmlformats.org/officeDocument/2006/relationships/themeOverride" Target="../theme/themeOverride267.xml"/><Relationship Id="rId2"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themeOverride" Target="../theme/themeOverride268.xml"/><Relationship Id="rId2" Type="http://schemas.openxmlformats.org/officeDocument/2006/relationships/package" Target="../embeddings/Microsoft_Excel_Worksheet267.xlsx"/></Relationships>
</file>

<file path=ppt/charts/_rels/chart2680.xml.rels><?xml version='1.0' encoding='UTF-8' standalone='yes'?>
<Relationships xmlns="http://schemas.openxmlformats.org/package/2006/relationships"><Relationship Id="rId1" Type="http://schemas.openxmlformats.org/officeDocument/2006/relationships/themeOverride" Target="../theme/themeOverride2432.xml"/><Relationship Id="rId2" Type="http://schemas.openxmlformats.org/officeDocument/2006/relationships/package" Target="../embeddings/Microsoft_Excel_Worksheet2679.xlsx"/></Relationships>
</file>

<file path=ppt/charts/_rels/chart2681.xml.rels><?xml version='1.0' encoding='UTF-8' standalone='yes'?>
<Relationships xmlns="http://schemas.openxmlformats.org/package/2006/relationships"><Relationship Id="rId1" Type="http://schemas.openxmlformats.org/officeDocument/2006/relationships/themeOverride" Target="../theme/themeOverride2433.xml"/><Relationship Id="rId2" Type="http://schemas.openxmlformats.org/officeDocument/2006/relationships/package" Target="../embeddings/Microsoft_Excel_Worksheet2680.xlsx"/></Relationships>
</file>

<file path=ppt/charts/_rels/chart2682.xml.rels><?xml version='1.0' encoding='UTF-8' standalone='yes'?>
<Relationships xmlns="http://schemas.openxmlformats.org/package/2006/relationships"><Relationship Id="rId1" Type="http://schemas.openxmlformats.org/officeDocument/2006/relationships/themeOverride" Target="../theme/themeOverride2434.xml"/><Relationship Id="rId2" Type="http://schemas.openxmlformats.org/officeDocument/2006/relationships/package" Target="../embeddings/Microsoft_Excel_Worksheet2681.xlsx"/></Relationships>
</file>

<file path=ppt/charts/_rels/chart2683.xml.rels><?xml version='1.0' encoding='UTF-8' standalone='yes'?>
<Relationships xmlns="http://schemas.openxmlformats.org/package/2006/relationships"><Relationship Id="rId1" Type="http://schemas.openxmlformats.org/officeDocument/2006/relationships/themeOverride" Target="../theme/themeOverride2435.xml"/><Relationship Id="rId2" Type="http://schemas.openxmlformats.org/officeDocument/2006/relationships/package" Target="../embeddings/Microsoft_Excel_Worksheet2682.xlsx"/></Relationships>
</file>

<file path=ppt/charts/_rels/chart2684.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2683.xlsx"/></Relationships>
</file>

<file path=ppt/charts/_rels/chart2685.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2684.xlsx"/></Relationships>
</file>

<file path=ppt/charts/_rels/chart269.xml.rels><?xml version='1.0' encoding='UTF-8' standalone='yes'?>
<Relationships xmlns="http://schemas.openxmlformats.org/package/2006/relationships"><Relationship Id="rId1" Type="http://schemas.openxmlformats.org/officeDocument/2006/relationships/themeOverride" Target="../theme/themeOverride269.xml"/><Relationship Id="rId2" Type="http://schemas.openxmlformats.org/officeDocument/2006/relationships/package" Target="../embeddings/Microsoft_Excel_Worksheet268.xlsx"/></Relationships>
</file>

<file path=ppt/charts/_rels/chart270.xml.rels><?xml version='1.0' encoding='UTF-8' standalone='yes'?>
<Relationships xmlns="http://schemas.openxmlformats.org/package/2006/relationships"><Relationship Id="rId1" Type="http://schemas.openxmlformats.org/officeDocument/2006/relationships/themeOverride" Target="../theme/themeOverride270.xml"/><Relationship Id="rId2" Type="http://schemas.openxmlformats.org/officeDocument/2006/relationships/package" Target="../embeddings/Microsoft_Excel_Worksheet269.xlsx"/></Relationships>
</file>

<file path=ppt/charts/_rels/chart2704.xml.rels><?xml version='1.0' encoding='UTF-8' standalone='yes'?>
<Relationships xmlns="http://schemas.openxmlformats.org/package/2006/relationships"><Relationship Id="rId1" Type="http://schemas.openxmlformats.org/officeDocument/2006/relationships/themeOverride" Target="../theme/themeOverride2448.xml"/><Relationship Id="rId2" Type="http://schemas.openxmlformats.org/officeDocument/2006/relationships/package" Target="../embeddings/Microsoft_Excel_Worksheet2703.xlsx"/></Relationships>
</file>

<file path=ppt/charts/_rels/chart2705.xml.rels><?xml version='1.0' encoding='UTF-8' standalone='yes'?>
<Relationships xmlns="http://schemas.openxmlformats.org/package/2006/relationships"><Relationship Id="rId1" Type="http://schemas.openxmlformats.org/officeDocument/2006/relationships/themeOverride" Target="../theme/themeOverride2449.xml"/><Relationship Id="rId2" Type="http://schemas.openxmlformats.org/officeDocument/2006/relationships/package" Target="../embeddings/Microsoft_Excel_Worksheet2704.xlsx"/></Relationships>
</file>

<file path=ppt/charts/_rels/chart2706.xml.rels><?xml version='1.0' encoding='UTF-8' standalone='yes'?>
<Relationships xmlns="http://schemas.openxmlformats.org/package/2006/relationships"><Relationship Id="rId1" Type="http://schemas.openxmlformats.org/officeDocument/2006/relationships/themeOverride" Target="../theme/themeOverride2450.xml"/><Relationship Id="rId2" Type="http://schemas.openxmlformats.org/officeDocument/2006/relationships/package" Target="../embeddings/Microsoft_Excel_Worksheet2705.xlsx"/></Relationships>
</file>

<file path=ppt/charts/_rels/chart2707.xml.rels><?xml version='1.0' encoding='UTF-8' standalone='yes'?>
<Relationships xmlns="http://schemas.openxmlformats.org/package/2006/relationships"><Relationship Id="rId1" Type="http://schemas.openxmlformats.org/officeDocument/2006/relationships/themeOverride" Target="../theme/themeOverride2451.xml"/><Relationship Id="rId2" Type="http://schemas.openxmlformats.org/officeDocument/2006/relationships/package" Target="../embeddings/Microsoft_Excel_Worksheet2706.xlsx"/></Relationships>
</file>

<file path=ppt/charts/_rels/chart2708.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2707.xlsx"/></Relationships>
</file>

<file path=ppt/charts/_rels/chart2709.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2708.xlsx"/></Relationships>
</file>

<file path=ppt/charts/_rels/chart2728.xml.rels><?xml version='1.0' encoding='UTF-8' standalone='yes'?>
<Relationships xmlns="http://schemas.openxmlformats.org/package/2006/relationships"><Relationship Id="rId1" Type="http://schemas.openxmlformats.org/officeDocument/2006/relationships/themeOverride" Target="../theme/themeOverride2464.xml"/><Relationship Id="rId2" Type="http://schemas.openxmlformats.org/officeDocument/2006/relationships/package" Target="../embeddings/Microsoft_Excel_Worksheet2727.xlsx"/></Relationships>
</file>

<file path=ppt/charts/_rels/chart2729.xml.rels><?xml version='1.0' encoding='UTF-8' standalone='yes'?>
<Relationships xmlns="http://schemas.openxmlformats.org/package/2006/relationships"><Relationship Id="rId1" Type="http://schemas.openxmlformats.org/officeDocument/2006/relationships/themeOverride" Target="../theme/themeOverride2465.xml"/><Relationship Id="rId2" Type="http://schemas.openxmlformats.org/officeDocument/2006/relationships/package" Target="../embeddings/Microsoft_Excel_Worksheet2728.xlsx"/></Relationships>
</file>

<file path=ppt/charts/_rels/chart2730.xml.rels><?xml version='1.0' encoding='UTF-8' standalone='yes'?>
<Relationships xmlns="http://schemas.openxmlformats.org/package/2006/relationships"><Relationship Id="rId1" Type="http://schemas.openxmlformats.org/officeDocument/2006/relationships/themeOverride" Target="../theme/themeOverride2466.xml"/><Relationship Id="rId2" Type="http://schemas.openxmlformats.org/officeDocument/2006/relationships/package" Target="../embeddings/Microsoft_Excel_Worksheet2729.xlsx"/></Relationships>
</file>

<file path=ppt/charts/_rels/chart2731.xml.rels><?xml version='1.0' encoding='UTF-8' standalone='yes'?>
<Relationships xmlns="http://schemas.openxmlformats.org/package/2006/relationships"><Relationship Id="rId1" Type="http://schemas.openxmlformats.org/officeDocument/2006/relationships/themeOverride" Target="../theme/themeOverride2467.xml"/><Relationship Id="rId2" Type="http://schemas.openxmlformats.org/officeDocument/2006/relationships/package" Target="../embeddings/Microsoft_Excel_Worksheet2730.xlsx"/></Relationships>
</file>

<file path=ppt/charts/_rels/chart2732.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2731.xlsx"/></Relationships>
</file>

<file path=ppt/charts/_rels/chart2733.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2732.xlsx"/></Relationships>
</file>

<file path=ppt/charts/_rels/chart2734.xml.rels><?xml version='1.0' encoding='UTF-8' standalone='yes'?>
<Relationships xmlns="http://schemas.openxmlformats.org/package/2006/relationships"><Relationship Id="rId1" Type="http://schemas.openxmlformats.org/officeDocument/2006/relationships/themeOverride" Target="../theme/themeOverride2468.xml"/><Relationship Id="rId2" Type="http://schemas.openxmlformats.org/officeDocument/2006/relationships/package" Target="../embeddings/Microsoft_Excel_Worksheet2733.xlsx"/></Relationships>
</file>

<file path=ppt/charts/_rels/chart2735.xml.rels><?xml version='1.0' encoding='UTF-8' standalone='yes'?>
<Relationships xmlns="http://schemas.openxmlformats.org/package/2006/relationships"><Relationship Id="rId1" Type="http://schemas.openxmlformats.org/officeDocument/2006/relationships/themeOverride" Target="../theme/themeOverride2469.xml"/><Relationship Id="rId2" Type="http://schemas.openxmlformats.org/officeDocument/2006/relationships/package" Target="../embeddings/Microsoft_Excel_Worksheet2734.xlsx"/></Relationships>
</file>

<file path=ppt/charts/_rels/chart2736.xml.rels><?xml version='1.0' encoding='UTF-8' standalone='yes'?>
<Relationships xmlns="http://schemas.openxmlformats.org/package/2006/relationships"><Relationship Id="rId1" Type="http://schemas.openxmlformats.org/officeDocument/2006/relationships/themeOverride" Target="../theme/themeOverride2470.xml"/><Relationship Id="rId2" Type="http://schemas.openxmlformats.org/officeDocument/2006/relationships/package" Target="../embeddings/Microsoft_Excel_Worksheet2735.xlsx"/></Relationships>
</file>

<file path=ppt/charts/_rels/chart2737.xml.rels><?xml version='1.0' encoding='UTF-8' standalone='yes'?>
<Relationships xmlns="http://schemas.openxmlformats.org/package/2006/relationships"><Relationship Id="rId1" Type="http://schemas.openxmlformats.org/officeDocument/2006/relationships/themeOverride" Target="../theme/themeOverride2471.xml"/><Relationship Id="rId2" Type="http://schemas.openxmlformats.org/officeDocument/2006/relationships/package" Target="../embeddings/Microsoft_Excel_Worksheet2736.xlsx"/></Relationships>
</file>

<file path=ppt/charts/_rels/chart2738.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2737.xlsx"/></Relationships>
</file>

<file path=ppt/charts/_rels/chart2739.xml.rels><?xml version='1.0' encoding='UTF-8' standalone='yes'?>
<Relationships xmlns="http://schemas.openxmlformats.org/package/2006/relationships"><Relationship Id="rId1" Type="http://schemas.microsoft.com/office/2011/relationships/chartStyle" Target="style268.xml"/><Relationship Id="rId2" Type="http://schemas.microsoft.com/office/2011/relationships/chartColorStyle" Target="colors268.xml"/><Relationship Id="rId3" Type="http://schemas.openxmlformats.org/officeDocument/2006/relationships/package" Target="../embeddings/Microsoft_Excel_Worksheet2738.xlsx"/></Relationships>
</file>

<file path=ppt/charts/_rels/chart2740.xml.rels><?xml version='1.0' encoding='UTF-8' standalone='yes'?>
<Relationships xmlns="http://schemas.openxmlformats.org/package/2006/relationships"><Relationship Id="rId1" Type="http://schemas.openxmlformats.org/officeDocument/2006/relationships/themeOverride" Target="../theme/themeOverride2472.xml"/><Relationship Id="rId2" Type="http://schemas.openxmlformats.org/officeDocument/2006/relationships/package" Target="../embeddings/Microsoft_Excel_Worksheet2739.xlsx"/></Relationships>
</file>

<file path=ppt/charts/_rels/chart2741.xml.rels><?xml version='1.0' encoding='UTF-8' standalone='yes'?>
<Relationships xmlns="http://schemas.openxmlformats.org/package/2006/relationships"><Relationship Id="rId1" Type="http://schemas.openxmlformats.org/officeDocument/2006/relationships/themeOverride" Target="../theme/themeOverride2473.xml"/><Relationship Id="rId2" Type="http://schemas.openxmlformats.org/officeDocument/2006/relationships/package" Target="../embeddings/Microsoft_Excel_Worksheet2740.xlsx"/></Relationships>
</file>

<file path=ppt/charts/_rels/chart2742.xml.rels><?xml version='1.0' encoding='UTF-8' standalone='yes'?>
<Relationships xmlns="http://schemas.openxmlformats.org/package/2006/relationships"><Relationship Id="rId1" Type="http://schemas.openxmlformats.org/officeDocument/2006/relationships/themeOverride" Target="../theme/themeOverride2474.xml"/><Relationship Id="rId2" Type="http://schemas.openxmlformats.org/officeDocument/2006/relationships/package" Target="../embeddings/Microsoft_Excel_Worksheet2741.xlsx"/></Relationships>
</file>

<file path=ppt/charts/_rels/chart2743.xml.rels><?xml version='1.0' encoding='UTF-8' standalone='yes'?>
<Relationships xmlns="http://schemas.openxmlformats.org/package/2006/relationships"><Relationship Id="rId1" Type="http://schemas.openxmlformats.org/officeDocument/2006/relationships/themeOverride" Target="../theme/themeOverride2475.xml"/><Relationship Id="rId2" Type="http://schemas.openxmlformats.org/officeDocument/2006/relationships/package" Target="../embeddings/Microsoft_Excel_Worksheet2742.xlsx"/></Relationships>
</file>

<file path=ppt/charts/_rels/chart2744.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743.xlsx"/></Relationships>
</file>

<file path=ppt/charts/_rels/chart2745.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744.xlsx"/></Relationships>
</file>

<file path=ppt/charts/_rels/chart2746.xml.rels><?xml version='1.0' encoding='UTF-8' standalone='yes'?>
<Relationships xmlns="http://schemas.openxmlformats.org/package/2006/relationships"><Relationship Id="rId1" Type="http://schemas.openxmlformats.org/officeDocument/2006/relationships/themeOverride" Target="../theme/themeOverride2476.xml"/><Relationship Id="rId2" Type="http://schemas.openxmlformats.org/officeDocument/2006/relationships/package" Target="../embeddings/Microsoft_Excel_Worksheet2745.xlsx"/></Relationships>
</file>

<file path=ppt/charts/_rels/chart2747.xml.rels><?xml version='1.0' encoding='UTF-8' standalone='yes'?>
<Relationships xmlns="http://schemas.openxmlformats.org/package/2006/relationships"><Relationship Id="rId1" Type="http://schemas.openxmlformats.org/officeDocument/2006/relationships/themeOverride" Target="../theme/themeOverride2477.xml"/><Relationship Id="rId2" Type="http://schemas.openxmlformats.org/officeDocument/2006/relationships/package" Target="../embeddings/Microsoft_Excel_Worksheet2746.xlsx"/></Relationships>
</file>

<file path=ppt/charts/_rels/chart2748.xml.rels><?xml version='1.0' encoding='UTF-8' standalone='yes'?>
<Relationships xmlns="http://schemas.openxmlformats.org/package/2006/relationships"><Relationship Id="rId1" Type="http://schemas.openxmlformats.org/officeDocument/2006/relationships/themeOverride" Target="../theme/themeOverride2478.xml"/><Relationship Id="rId2" Type="http://schemas.openxmlformats.org/officeDocument/2006/relationships/package" Target="../embeddings/Microsoft_Excel_Worksheet2747.xlsx"/></Relationships>
</file>

<file path=ppt/charts/_rels/chart2749.xml.rels><?xml version='1.0' encoding='UTF-8' standalone='yes'?>
<Relationships xmlns="http://schemas.openxmlformats.org/package/2006/relationships"><Relationship Id="rId1" Type="http://schemas.openxmlformats.org/officeDocument/2006/relationships/themeOverride" Target="../theme/themeOverride2479.xml"/><Relationship Id="rId2" Type="http://schemas.openxmlformats.org/officeDocument/2006/relationships/package" Target="../embeddings/Microsoft_Excel_Worksheet2748.xlsx"/></Relationships>
</file>

<file path=ppt/charts/_rels/chart2750.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2749.xlsx"/></Relationships>
</file>

<file path=ppt/charts/_rels/chart2751.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2750.xlsx"/></Relationships>
</file>

<file path=ppt/charts/_rels/chart276.xml.rels><?xml version='1.0' encoding='UTF-8' standalone='yes'?>
<Relationships xmlns="http://schemas.openxmlformats.org/package/2006/relationships"><Relationship Id="rId1" Type="http://schemas.openxmlformats.org/officeDocument/2006/relationships/themeOverride" Target="../theme/themeOverride276.xml"/><Relationship Id="rId2"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themeOverride" Target="../theme/themeOverride277.xml"/><Relationship Id="rId2" Type="http://schemas.openxmlformats.org/officeDocument/2006/relationships/package" Target="../embeddings/Microsoft_Excel_Worksheet276.xlsx"/></Relationships>
</file>

<file path=ppt/charts/_rels/chart2770.xml.rels><?xml version='1.0' encoding='UTF-8' standalone='yes'?>
<Relationships xmlns="http://schemas.openxmlformats.org/package/2006/relationships"><Relationship Id="rId1" Type="http://schemas.openxmlformats.org/officeDocument/2006/relationships/themeOverride" Target="../theme/themeOverride2492.xml"/><Relationship Id="rId2" Type="http://schemas.openxmlformats.org/officeDocument/2006/relationships/package" Target="../embeddings/Microsoft_Excel_Worksheet2769.xlsx"/></Relationships>
</file>

<file path=ppt/charts/_rels/chart2771.xml.rels><?xml version='1.0' encoding='UTF-8' standalone='yes'?>
<Relationships xmlns="http://schemas.openxmlformats.org/package/2006/relationships"><Relationship Id="rId1" Type="http://schemas.openxmlformats.org/officeDocument/2006/relationships/themeOverride" Target="../theme/themeOverride2493.xml"/><Relationship Id="rId2" Type="http://schemas.openxmlformats.org/officeDocument/2006/relationships/package" Target="../embeddings/Microsoft_Excel_Worksheet2770.xlsx"/></Relationships>
</file>

<file path=ppt/charts/_rels/chart2772.xml.rels><?xml version='1.0' encoding='UTF-8' standalone='yes'?>
<Relationships xmlns="http://schemas.openxmlformats.org/package/2006/relationships"><Relationship Id="rId1" Type="http://schemas.openxmlformats.org/officeDocument/2006/relationships/themeOverride" Target="../theme/themeOverride2494.xml"/><Relationship Id="rId2" Type="http://schemas.openxmlformats.org/officeDocument/2006/relationships/package" Target="../embeddings/Microsoft_Excel_Worksheet2771.xlsx"/></Relationships>
</file>

<file path=ppt/charts/_rels/chart2773.xml.rels><?xml version='1.0' encoding='UTF-8' standalone='yes'?>
<Relationships xmlns="http://schemas.openxmlformats.org/package/2006/relationships"><Relationship Id="rId1" Type="http://schemas.openxmlformats.org/officeDocument/2006/relationships/themeOverride" Target="../theme/themeOverride2495.xml"/><Relationship Id="rId2" Type="http://schemas.openxmlformats.org/officeDocument/2006/relationships/package" Target="../embeddings/Microsoft_Excel_Worksheet2772.xlsx"/></Relationships>
</file>

<file path=ppt/charts/_rels/chart2774.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2773.xlsx"/></Relationships>
</file>

<file path=ppt/charts/_rels/chart2775.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2774.xlsx"/></Relationships>
</file>

<file path=ppt/charts/_rels/chart278.xml.rels><?xml version='1.0' encoding='UTF-8' standalone='yes'?>
<Relationships xmlns="http://schemas.openxmlformats.org/package/2006/relationships"><Relationship Id="rId1" Type="http://schemas.openxmlformats.org/officeDocument/2006/relationships/themeOverride" Target="../theme/themeOverride278.xml"/><Relationship Id="rId2"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themeOverride" Target="../theme/themeOverride279.xml"/><Relationship Id="rId2" Type="http://schemas.openxmlformats.org/officeDocument/2006/relationships/package" Target="../embeddings/Microsoft_Excel_Worksheet278.xlsx"/></Relationships>
</file>

<file path=ppt/charts/_rels/chart2794.xml.rels><?xml version='1.0' encoding='UTF-8' standalone='yes'?>
<Relationships xmlns="http://schemas.openxmlformats.org/package/2006/relationships"><Relationship Id="rId1" Type="http://schemas.openxmlformats.org/officeDocument/2006/relationships/themeOverride" Target="../theme/themeOverride2508.xml"/><Relationship Id="rId2" Type="http://schemas.openxmlformats.org/officeDocument/2006/relationships/package" Target="../embeddings/Microsoft_Excel_Worksheet2793.xlsx"/></Relationships>
</file>

<file path=ppt/charts/_rels/chart2795.xml.rels><?xml version='1.0' encoding='UTF-8' standalone='yes'?>
<Relationships xmlns="http://schemas.openxmlformats.org/package/2006/relationships"><Relationship Id="rId1" Type="http://schemas.openxmlformats.org/officeDocument/2006/relationships/themeOverride" Target="../theme/themeOverride2509.xml"/><Relationship Id="rId2" Type="http://schemas.openxmlformats.org/officeDocument/2006/relationships/package" Target="../embeddings/Microsoft_Excel_Worksheet2794.xlsx"/></Relationships>
</file>

<file path=ppt/charts/_rels/chart2796.xml.rels><?xml version='1.0' encoding='UTF-8' standalone='yes'?>
<Relationships xmlns="http://schemas.openxmlformats.org/package/2006/relationships"><Relationship Id="rId1" Type="http://schemas.openxmlformats.org/officeDocument/2006/relationships/themeOverride" Target="../theme/themeOverride2510.xml"/><Relationship Id="rId2" Type="http://schemas.openxmlformats.org/officeDocument/2006/relationships/package" Target="../embeddings/Microsoft_Excel_Worksheet2795.xlsx"/></Relationships>
</file>

<file path=ppt/charts/_rels/chart2797.xml.rels><?xml version='1.0' encoding='UTF-8' standalone='yes'?>
<Relationships xmlns="http://schemas.openxmlformats.org/package/2006/relationships"><Relationship Id="rId1" Type="http://schemas.openxmlformats.org/officeDocument/2006/relationships/themeOverride" Target="../theme/themeOverride2511.xml"/><Relationship Id="rId2" Type="http://schemas.openxmlformats.org/officeDocument/2006/relationships/package" Target="../embeddings/Microsoft_Excel_Worksheet2796.xlsx"/></Relationships>
</file>

<file path=ppt/charts/_rels/chart2798.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2797.xlsx"/></Relationships>
</file>

<file path=ppt/charts/_rels/chart2799.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2798.xlsx"/></Relationships>
</file>

<file path=ppt/charts/_rels/chart280.xml.rels><?xml version='1.0' encoding='UTF-8' standalone='yes'?>
<Relationships xmlns="http://schemas.openxmlformats.org/package/2006/relationships"><Relationship Id="rId1" Type="http://schemas.openxmlformats.org/officeDocument/2006/relationships/themeOverride" Target="../theme/themeOverride280.xml"/><Relationship Id="rId2" Type="http://schemas.openxmlformats.org/officeDocument/2006/relationships/package" Target="../embeddings/Microsoft_Excel_Worksheet279.xlsx"/></Relationships>
</file>

<file path=ppt/charts/_rels/chart2806.xml.rels><?xml version='1.0' encoding='UTF-8' standalone='yes'?>
<Relationships xmlns="http://schemas.openxmlformats.org/package/2006/relationships"><Relationship Id="rId1" Type="http://schemas.openxmlformats.org/officeDocument/2006/relationships/themeOverride" Target="../theme/themeOverride2516.xml"/><Relationship Id="rId2" Type="http://schemas.openxmlformats.org/officeDocument/2006/relationships/package" Target="../embeddings/Microsoft_Excel_Worksheet2805.xlsx"/></Relationships>
</file>

<file path=ppt/charts/_rels/chart2807.xml.rels><?xml version='1.0' encoding='UTF-8' standalone='yes'?>
<Relationships xmlns="http://schemas.openxmlformats.org/package/2006/relationships"><Relationship Id="rId1" Type="http://schemas.openxmlformats.org/officeDocument/2006/relationships/themeOverride" Target="../theme/themeOverride2517.xml"/><Relationship Id="rId2" Type="http://schemas.openxmlformats.org/officeDocument/2006/relationships/package" Target="../embeddings/Microsoft_Excel_Worksheet2806.xlsx"/></Relationships>
</file>

<file path=ppt/charts/_rels/chart2808.xml.rels><?xml version='1.0' encoding='UTF-8' standalone='yes'?>
<Relationships xmlns="http://schemas.openxmlformats.org/package/2006/relationships"><Relationship Id="rId1" Type="http://schemas.openxmlformats.org/officeDocument/2006/relationships/themeOverride" Target="../theme/themeOverride2518.xml"/><Relationship Id="rId2" Type="http://schemas.openxmlformats.org/officeDocument/2006/relationships/package" Target="../embeddings/Microsoft_Excel_Worksheet2807.xlsx"/></Relationships>
</file>

<file path=ppt/charts/_rels/chart2809.xml.rels><?xml version='1.0' encoding='UTF-8' standalone='yes'?>
<Relationships xmlns="http://schemas.openxmlformats.org/package/2006/relationships"><Relationship Id="rId1" Type="http://schemas.openxmlformats.org/officeDocument/2006/relationships/themeOverride" Target="../theme/themeOverride2519.xml"/><Relationship Id="rId2" Type="http://schemas.openxmlformats.org/officeDocument/2006/relationships/package" Target="../embeddings/Microsoft_Excel_Worksheet2808.xlsx"/></Relationships>
</file>

<file path=ppt/charts/_rels/chart2810.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809.xlsx"/></Relationships>
</file>

<file path=ppt/charts/_rels/chart2811.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810.xlsx"/></Relationships>
</file>

<file path=ppt/charts/_rels/chart2812.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2811.xlsx"/></Relationships>
</file>

<file path=ppt/charts/_rels/chart2816.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2815.xlsx"/></Relationships>
</file>

<file path=ppt/charts/_rels/chart2822.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2821.xlsx"/></Relationships>
</file>

<file path=ppt/charts/_rels/chart2823.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2822.xlsx"/></Relationships>
</file>

<file path=ppt/charts/_rels/chart2827.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2826.xlsx"/></Relationships>
</file>

<file path=ppt/charts/_rels/chart2832.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2831.xlsx"/></Relationships>
</file>

<file path=ppt/charts/_rels/chart2836.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2835.xlsx"/></Relationships>
</file>

<file path=ppt/charts/_rels/chart2837.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2836.xlsx"/></Relationships>
</file>

<file path=ppt/charts/_rels/chart2843.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2842.xlsx"/></Relationships>
</file>

<file path=ppt/charts/_rels/chart2847.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2846.xlsx"/></Relationships>
</file>

<file path=ppt/charts/_rels/chart2848.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2847.xlsx"/></Relationships>
</file>

<file path=ppt/charts/_rels/chart2850.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2849.xlsx"/></Relationships>
</file>

<file path=ppt/charts/_rels/chart2854.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2853.xlsx"/></Relationships>
</file>

<file path=ppt/charts/_rels/chart2859.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2858.xlsx"/></Relationships>
</file>

<file path=ppt/charts/_rels/chart2861.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2860.xlsx"/></Relationships>
</file>

<file path=ppt/charts/_rels/chart296.xml.rels><?xml version='1.0' encoding='UTF-8' standalone='yes'?>
<Relationships xmlns="http://schemas.openxmlformats.org/package/2006/relationships"><Relationship Id="rId1" Type="http://schemas.openxmlformats.org/officeDocument/2006/relationships/themeOverride" Target="../theme/themeOverride296.xml"/><Relationship Id="rId2"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themeOverride" Target="../theme/themeOverride297.xml"/><Relationship Id="rId2"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themeOverride" Target="../theme/themeOverride298.xml"/><Relationship Id="rId2"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themeOverride" Target="../theme/themeOverride299.xml"/><Relationship Id="rId2" Type="http://schemas.openxmlformats.org/officeDocument/2006/relationships/package" Target="../embeddings/Microsoft_Excel_Worksheet298.xlsx"/></Relationships>
</file>

<file path=ppt/charts/_rels/chart300.xml.rels><?xml version='1.0' encoding='UTF-8' standalone='yes'?>
<Relationships xmlns="http://schemas.openxmlformats.org/package/2006/relationships"><Relationship Id="rId1" Type="http://schemas.openxmlformats.org/officeDocument/2006/relationships/themeOverride" Target="../theme/themeOverride300.xml"/><Relationship Id="rId2"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themeOverride" Target="../theme/themeOverride301.xml"/><Relationship Id="rId2"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themeOverride" Target="../theme/themeOverride302.xml"/><Relationship Id="rId2"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themeOverride" Target="../theme/themeOverride303.xml"/><Relationship Id="rId2"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themeOverride" Target="../theme/themeOverride304.xml"/><Relationship Id="rId2"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themeOverride" Target="../theme/themeOverride305.xml"/><Relationship Id="rId2" Type="http://schemas.openxmlformats.org/officeDocument/2006/relationships/package" Target="../embeddings/Microsoft_Excel_Worksheet304.xlsx"/></Relationships>
</file>

<file path=ppt/charts/_rels/chart321.xml.rels><?xml version='1.0' encoding='UTF-8' standalone='yes'?>
<Relationships xmlns="http://schemas.openxmlformats.org/package/2006/relationships"><Relationship Id="rId1" Type="http://schemas.openxmlformats.org/officeDocument/2006/relationships/themeOverride" Target="../theme/themeOverride321.xml"/><Relationship Id="rId2"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themeOverride" Target="../theme/themeOverride322.xml"/><Relationship Id="rId2"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themeOverride" Target="../theme/themeOverride323.xml"/><Relationship Id="rId2"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themeOverride" Target="../theme/themeOverride324.xml"/><Relationship Id="rId2"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themeOverride" Target="../theme/themeOverride325.xml"/><Relationship Id="rId2" Type="http://schemas.openxmlformats.org/officeDocument/2006/relationships/package" Target="../embeddings/Microsoft_Excel_Worksheet324.xlsx"/></Relationships>
</file>

<file path=ppt/charts/_rels/chart331.xml.rels><?xml version='1.0' encoding='UTF-8' standalone='yes'?>
<Relationships xmlns="http://schemas.openxmlformats.org/package/2006/relationships"><Relationship Id="rId1" Type="http://schemas.openxmlformats.org/officeDocument/2006/relationships/themeOverride" Target="../theme/themeOverride331.xml"/><Relationship Id="rId2"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themeOverride" Target="../theme/themeOverride332.xml"/><Relationship Id="rId2"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themeOverride" Target="../theme/themeOverride333.xml"/><Relationship Id="rId2"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themeOverride" Target="../theme/themeOverride334.xml"/><Relationship Id="rId2"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themeOverride" Target="../theme/themeOverride335.xml"/><Relationship Id="rId2" Type="http://schemas.openxmlformats.org/officeDocument/2006/relationships/package" Target="../embeddings/Microsoft_Excel_Worksheet334.xlsx"/></Relationships>
</file>

<file path=ppt/charts/_rels/chart351.xml.rels><?xml version='1.0' encoding='UTF-8' standalone='yes'?>
<Relationships xmlns="http://schemas.openxmlformats.org/package/2006/relationships"><Relationship Id="rId1" Type="http://schemas.openxmlformats.org/officeDocument/2006/relationships/themeOverride" Target="../theme/themeOverride351.xml"/><Relationship Id="rId2"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themeOverride" Target="../theme/themeOverride352.xml"/><Relationship Id="rId2"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themeOverride" Target="../theme/themeOverride353.xml"/><Relationship Id="rId2"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themeOverride" Target="../theme/themeOverride354.xml"/><Relationship Id="rId2"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themeOverride" Target="../theme/themeOverride355.xml"/><Relationship Id="rId2"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themeOverride" Target="../theme/themeOverride356.xml"/><Relationship Id="rId2"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themeOverride" Target="../theme/themeOverride357.xml"/><Relationship Id="rId2"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themeOverride" Target="../theme/themeOverride358.xml"/><Relationship Id="rId2"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themeOverride" Target="../theme/themeOverride359.xml"/><Relationship Id="rId2" Type="http://schemas.openxmlformats.org/officeDocument/2006/relationships/package" Target="../embeddings/Microsoft_Excel_Worksheet358.xlsx"/></Relationships>
</file>

<file path=ppt/charts/_rels/chart360.xml.rels><?xml version='1.0' encoding='UTF-8' standalone='yes'?>
<Relationships xmlns="http://schemas.openxmlformats.org/package/2006/relationships"><Relationship Id="rId1" Type="http://schemas.openxmlformats.org/officeDocument/2006/relationships/themeOverride" Target="../theme/themeOverride360.xml"/><Relationship Id="rId2" Type="http://schemas.openxmlformats.org/officeDocument/2006/relationships/package" Target="../embeddings/Microsoft_Excel_Worksheet359.xlsx"/></Relationships>
</file>

<file path=ppt/charts/_rels/chart386.xml.rels><?xml version='1.0' encoding='UTF-8' standalone='yes'?>
<Relationships xmlns="http://schemas.openxmlformats.org/package/2006/relationships"><Relationship Id="rId1" Type="http://schemas.openxmlformats.org/officeDocument/2006/relationships/themeOverride" Target="../theme/themeOverride386.xml"/><Relationship Id="rId2"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themeOverride" Target="../theme/themeOverride387.xml"/><Relationship Id="rId2"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themeOverride" Target="../theme/themeOverride388.xml"/><Relationship Id="rId2"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themeOverride" Target="../theme/themeOverride389.xml"/><Relationship Id="rId2" Type="http://schemas.openxmlformats.org/officeDocument/2006/relationships/package" Target="../embeddings/Microsoft_Excel_Worksheet388.xlsx"/></Relationships>
</file>

<file path=ppt/charts/_rels/chart390.xml.rels><?xml version='1.0' encoding='UTF-8' standalone='yes'?>
<Relationships xmlns="http://schemas.openxmlformats.org/package/2006/relationships"><Relationship Id="rId1" Type="http://schemas.openxmlformats.org/officeDocument/2006/relationships/themeOverride" Target="../theme/themeOverride390.xml"/><Relationship Id="rId2" Type="http://schemas.openxmlformats.org/officeDocument/2006/relationships/package" Target="../embeddings/Microsoft_Excel_Worksheet389.xlsx"/></Relationships>
</file>

<file path=ppt/charts/_rels/chart406.xml.rels><?xml version='1.0' encoding='UTF-8' standalone='yes'?>
<Relationships xmlns="http://schemas.openxmlformats.org/package/2006/relationships"><Relationship Id="rId1" Type="http://schemas.openxmlformats.org/officeDocument/2006/relationships/themeOverride" Target="../theme/themeOverride406.xml"/><Relationship Id="rId2"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themeOverride" Target="../theme/themeOverride407.xml"/><Relationship Id="rId2"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themeOverride" Target="../theme/themeOverride408.xml"/><Relationship Id="rId2"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themeOverride" Target="../theme/themeOverride409.xml"/><Relationship Id="rId2"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themeOverride" Target="../theme/themeOverride41.xml"/><Relationship Id="rId2"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themeOverride" Target="../theme/themeOverride410.xml"/><Relationship Id="rId2"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themeOverride" Target="../theme/themeOverride411.xml"/><Relationship Id="rId2"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themeOverride" Target="../theme/themeOverride412.xml"/><Relationship Id="rId2"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themeOverride" Target="../theme/themeOverride413.xml"/><Relationship Id="rId2"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themeOverride" Target="../theme/themeOverride414.xml"/><Relationship Id="rId2"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themeOverride" Target="../theme/themeOverride415.xml"/><Relationship Id="rId2" Type="http://schemas.openxmlformats.org/officeDocument/2006/relationships/package" Target="../embeddings/Microsoft_Excel_Worksheet414.xlsx"/></Relationships>
</file>

<file path=ppt/charts/_rels/chart42.xml.rels><?xml version='1.0' encoding='UTF-8' standalone='yes'?>
<Relationships xmlns="http://schemas.openxmlformats.org/package/2006/relationships"><Relationship Id="rId1" Type="http://schemas.openxmlformats.org/officeDocument/2006/relationships/themeOverride" Target="../theme/themeOverride42.xml"/><Relationship Id="rId2"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themeOverride" Target="../theme/themeOverride43.xml"/><Relationship Id="rId2"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themeOverride" Target="../theme/themeOverride44.xml"/><Relationship Id="rId2" Type="http://schemas.openxmlformats.org/officeDocument/2006/relationships/package" Target="../embeddings/Microsoft_Excel_Worksheet43.xlsx"/></Relationships>
</file>

<file path=ppt/charts/_rels/chart441.xml.rels><?xml version='1.0' encoding='UTF-8' standalone='yes'?>
<Relationships xmlns="http://schemas.openxmlformats.org/package/2006/relationships"><Relationship Id="rId1" Type="http://schemas.openxmlformats.org/officeDocument/2006/relationships/themeOverride" Target="../theme/themeOverride441.xml"/><Relationship Id="rId2"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themeOverride" Target="../theme/themeOverride442.xml"/><Relationship Id="rId2"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themeOverride" Target="../theme/themeOverride443.xml"/><Relationship Id="rId2"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themeOverride" Target="../theme/themeOverride444.xml"/><Relationship Id="rId2"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themeOverride" Target="../theme/themeOverride445.xml"/><Relationship Id="rId2" Type="http://schemas.openxmlformats.org/officeDocument/2006/relationships/package" Target="../embeddings/Microsoft_Excel_Worksheet444.xlsx"/></Relationships>
</file>

<file path=ppt/charts/_rels/chart45.xml.rels><?xml version='1.0' encoding='UTF-8' standalone='yes'?>
<Relationships xmlns="http://schemas.openxmlformats.org/package/2006/relationships"><Relationship Id="rId1" Type="http://schemas.openxmlformats.org/officeDocument/2006/relationships/themeOverride" Target="../theme/themeOverride45.xml"/><Relationship Id="rId2"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themeOverride" Target="../theme/themeOverride46.xml"/><Relationship Id="rId2" Type="http://schemas.openxmlformats.org/officeDocument/2006/relationships/package" Target="../embeddings/Microsoft_Excel_Worksheet45.xlsx"/></Relationships>
</file>

<file path=ppt/charts/_rels/chart461.xml.rels><?xml version='1.0' encoding='UTF-8' standalone='yes'?>
<Relationships xmlns="http://schemas.openxmlformats.org/package/2006/relationships"><Relationship Id="rId1" Type="http://schemas.openxmlformats.org/officeDocument/2006/relationships/themeOverride" Target="../theme/themeOverride461.xml"/><Relationship Id="rId2" Type="http://schemas.openxmlformats.org/officeDocument/2006/relationships/package" Target="../embeddings/Microsoft_Excel_Worksheet460.xlsx"/></Relationships>
</file>

<file path=ppt/charts/_rels/chart465.xml.rels><?xml version='1.0' encoding='UTF-8' standalone='yes'?>
<Relationships xmlns="http://schemas.openxmlformats.org/package/2006/relationships"><Relationship Id="rId1" Type="http://schemas.openxmlformats.org/officeDocument/2006/relationships/themeOverride" Target="../theme/themeOverride465.xml"/><Relationship Id="rId2"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themeOverride" Target="../theme/themeOverride466.xml"/><Relationship Id="rId2"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themeOverride" Target="../theme/themeOverride467.xml"/><Relationship Id="rId2"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themeOverride" Target="../theme/themeOverride468.xml"/><Relationship Id="rId2"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themeOverride" Target="../theme/themeOverride469.xml"/><Relationship Id="rId2"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themeOverride" Target="../theme/themeOverride47.xml"/><Relationship Id="rId2"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themeOverride" Target="../theme/themeOverride470.xml"/><Relationship Id="rId2" Type="http://schemas.openxmlformats.org/officeDocument/2006/relationships/package" Target="../embeddings/Microsoft_Excel_Worksheet469.xlsx"/></Relationships>
</file>

<file path=ppt/charts/_rels/chart48.xml.rels><?xml version='1.0' encoding='UTF-8' standalone='yes'?>
<Relationships xmlns="http://schemas.openxmlformats.org/package/2006/relationships"><Relationship Id="rId1" Type="http://schemas.openxmlformats.org/officeDocument/2006/relationships/themeOverride" Target="../theme/themeOverride48.xml"/><Relationship Id="rId2" Type="http://schemas.openxmlformats.org/officeDocument/2006/relationships/package" Target="../embeddings/Microsoft_Excel_Worksheet47.xlsx"/></Relationships>
</file>

<file path=ppt/charts/_rels/chart481.xml.rels><?xml version='1.0' encoding='UTF-8' standalone='yes'?>
<Relationships xmlns="http://schemas.openxmlformats.org/package/2006/relationships"><Relationship Id="rId1" Type="http://schemas.openxmlformats.org/officeDocument/2006/relationships/themeOverride" Target="../theme/themeOverride481.xml"/><Relationship Id="rId2"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themeOverride" Target="../theme/themeOverride482.xml"/><Relationship Id="rId2"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themeOverride" Target="../theme/themeOverride483.xml"/><Relationship Id="rId2"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themeOverride" Target="../theme/themeOverride484.xml"/><Relationship Id="rId2"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themeOverride" Target="../theme/themeOverride485.xml"/><Relationship Id="rId2" Type="http://schemas.openxmlformats.org/officeDocument/2006/relationships/package" Target="../embeddings/Microsoft_Excel_Worksheet484.xlsx"/></Relationships>
</file>

<file path=ppt/charts/_rels/chart49.xml.rels><?xml version='1.0' encoding='UTF-8' standalone='yes'?>
<Relationships xmlns="http://schemas.openxmlformats.org/package/2006/relationships"><Relationship Id="rId1" Type="http://schemas.openxmlformats.org/officeDocument/2006/relationships/themeOverride" Target="../theme/themeOverride49.xml"/><Relationship Id="rId2" Type="http://schemas.openxmlformats.org/officeDocument/2006/relationships/package" Target="../embeddings/Microsoft_Excel_Worksheet48.xlsx"/></Relationships>
</file>

<file path=ppt/charts/_rels/chart50.xml.rels><?xml version='1.0' encoding='UTF-8' standalone='yes'?>
<Relationships xmlns="http://schemas.openxmlformats.org/package/2006/relationships"><Relationship Id="rId1" Type="http://schemas.openxmlformats.org/officeDocument/2006/relationships/themeOverride" Target="../theme/themeOverride50.xml"/><Relationship Id="rId2" Type="http://schemas.openxmlformats.org/officeDocument/2006/relationships/package" Target="../embeddings/Microsoft_Excel_Worksheet49.xlsx"/></Relationships>
</file>

<file path=ppt/charts/_rels/chart501.xml.rels><?xml version='1.0' encoding='UTF-8' standalone='yes'?>
<Relationships xmlns="http://schemas.openxmlformats.org/package/2006/relationships"><Relationship Id="rId1" Type="http://schemas.openxmlformats.org/officeDocument/2006/relationships/themeOverride" Target="../theme/themeOverride501.xml"/><Relationship Id="rId2"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themeOverride" Target="../theme/themeOverride502.xml"/><Relationship Id="rId2"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themeOverride" Target="../theme/themeOverride503.xml"/><Relationship Id="rId2"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themeOverride" Target="../theme/themeOverride504.xml"/><Relationship Id="rId2"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themeOverride" Target="../theme/themeOverride505.xml"/><Relationship Id="rId2" Type="http://schemas.openxmlformats.org/officeDocument/2006/relationships/package" Target="../embeddings/Microsoft_Excel_Worksheet504.xlsx"/></Relationships>
</file>

<file path=ppt/charts/_rels/chart521.xml.rels><?xml version='1.0' encoding='UTF-8' standalone='yes'?>
<Relationships xmlns="http://schemas.openxmlformats.org/package/2006/relationships"><Relationship Id="rId1" Type="http://schemas.openxmlformats.org/officeDocument/2006/relationships/themeOverride" Target="../theme/themeOverride521.xml"/><Relationship Id="rId2"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themeOverride" Target="../theme/themeOverride522.xml"/><Relationship Id="rId2"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themeOverride" Target="../theme/themeOverride523.xml"/><Relationship Id="rId2"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themeOverride" Target="../theme/themeOverride524.xml"/><Relationship Id="rId2"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themeOverride" Target="../theme/themeOverride525.xml"/><Relationship Id="rId2" Type="http://schemas.openxmlformats.org/officeDocument/2006/relationships/package" Target="../embeddings/Microsoft_Excel_Worksheet524.xlsx"/></Relationships>
</file>

<file path=ppt/charts/_rels/chart536.xml.rels><?xml version='1.0' encoding='UTF-8' standalone='yes'?>
<Relationships xmlns="http://schemas.openxmlformats.org/package/2006/relationships"><Relationship Id="rId1" Type="http://schemas.openxmlformats.org/officeDocument/2006/relationships/themeOverride" Target="../theme/themeOverride536.xml"/><Relationship Id="rId2"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themeOverride" Target="../theme/themeOverride537.xml"/><Relationship Id="rId2"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themeOverride" Target="../theme/themeOverride538.xml"/><Relationship Id="rId2"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themeOverride" Target="../theme/themeOverride539.xml"/><Relationship Id="rId2" Type="http://schemas.openxmlformats.org/officeDocument/2006/relationships/package" Target="../embeddings/Microsoft_Excel_Worksheet538.xlsx"/></Relationships>
</file>

<file path=ppt/charts/_rels/chart540.xml.rels><?xml version='1.0' encoding='UTF-8' standalone='yes'?>
<Relationships xmlns="http://schemas.openxmlformats.org/package/2006/relationships"><Relationship Id="rId1" Type="http://schemas.openxmlformats.org/officeDocument/2006/relationships/themeOverride" Target="../theme/themeOverride540.xml"/><Relationship Id="rId2" Type="http://schemas.openxmlformats.org/officeDocument/2006/relationships/package" Target="../embeddings/Microsoft_Excel_Worksheet539.xlsx"/></Relationships>
</file>

<file path=ppt/charts/_rels/chart556.xml.rels><?xml version='1.0' encoding='UTF-8' standalone='yes'?>
<Relationships xmlns="http://schemas.openxmlformats.org/package/2006/relationships"><Relationship Id="rId1" Type="http://schemas.openxmlformats.org/officeDocument/2006/relationships/themeOverride" Target="../theme/themeOverride556.xml"/><Relationship Id="rId2"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themeOverride" Target="../theme/themeOverride557.xml"/><Relationship Id="rId2"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themeOverride" Target="../theme/themeOverride558.xml"/><Relationship Id="rId2"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themeOverride" Target="../theme/themeOverride559.xml"/><Relationship Id="rId2" Type="http://schemas.openxmlformats.org/officeDocument/2006/relationships/package" Target="../embeddings/Microsoft_Excel_Worksheet558.xlsx"/></Relationships>
</file>

<file path=ppt/charts/_rels/chart560.xml.rels><?xml version='1.0' encoding='UTF-8' standalone='yes'?>
<Relationships xmlns="http://schemas.openxmlformats.org/package/2006/relationships"><Relationship Id="rId1" Type="http://schemas.openxmlformats.org/officeDocument/2006/relationships/themeOverride" Target="../theme/themeOverride560.xml"/><Relationship Id="rId2"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themeOverride" Target="../theme/themeOverride561.xml"/><Relationship Id="rId2"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themeOverride" Target="../theme/themeOverride562.xml"/><Relationship Id="rId2"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themeOverride" Target="../theme/themeOverride563.xml"/><Relationship Id="rId2"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themeOverride" Target="../theme/themeOverride564.xml"/><Relationship Id="rId2"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themeOverride" Target="../theme/themeOverride565.xml"/><Relationship Id="rId2" Type="http://schemas.openxmlformats.org/officeDocument/2006/relationships/package" Target="../embeddings/Microsoft_Excel_Worksheet564.xlsx"/></Relationships>
</file>

<file path=ppt/charts/_rels/chart591.xml.rels><?xml version='1.0' encoding='UTF-8' standalone='yes'?>
<Relationships xmlns="http://schemas.openxmlformats.org/package/2006/relationships"><Relationship Id="rId1" Type="http://schemas.openxmlformats.org/officeDocument/2006/relationships/themeOverride" Target="../theme/themeOverride591.xml"/><Relationship Id="rId2"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themeOverride" Target="../theme/themeOverride592.xml"/><Relationship Id="rId2"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themeOverride" Target="../theme/themeOverride593.xml"/><Relationship Id="rId2"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themeOverride" Target="../theme/themeOverride594.xml"/><Relationship Id="rId2"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themeOverride" Target="../theme/themeOverride595.xml"/><Relationship Id="rId2" Type="http://schemas.openxmlformats.org/officeDocument/2006/relationships/package" Target="../embeddings/Microsoft_Excel_Worksheet594.xlsx"/></Relationships>
</file>

<file path=ppt/charts/_rels/chart6.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package" Target="../embeddings/Microsoft_Excel_Worksheet5.xlsx"/></Relationships>
</file>

<file path=ppt/charts/_rels/chart611.xml.rels><?xml version='1.0' encoding='UTF-8' standalone='yes'?>
<Relationships xmlns="http://schemas.openxmlformats.org/package/2006/relationships"><Relationship Id="rId1" Type="http://schemas.openxmlformats.org/officeDocument/2006/relationships/themeOverride" Target="../theme/themeOverride611.xml"/><Relationship Id="rId2"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themeOverride" Target="../theme/themeOverride612.xml"/><Relationship Id="rId2"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themeOverride" Target="../theme/themeOverride613.xml"/><Relationship Id="rId2"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themeOverride" Target="../theme/themeOverride614.xml"/><Relationship Id="rId2"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themeOverride" Target="../theme/themeOverride615.xml"/><Relationship Id="rId2"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themeOverride" Target="../theme/themeOverride616.xml"/><Relationship Id="rId2"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themeOverride" Target="../theme/themeOverride617.xml"/><Relationship Id="rId2"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themeOverride" Target="../theme/themeOverride618.xml"/><Relationship Id="rId2"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themeOverride" Target="../theme/themeOverride619.xml"/><Relationship Id="rId2" Type="http://schemas.openxmlformats.org/officeDocument/2006/relationships/package" Target="../embeddings/Microsoft_Excel_Worksheet618.xlsx"/></Relationships>
</file>

<file path=ppt/charts/_rels/chart620.xml.rels><?xml version='1.0' encoding='UTF-8' standalone='yes'?>
<Relationships xmlns="http://schemas.openxmlformats.org/package/2006/relationships"><Relationship Id="rId1" Type="http://schemas.openxmlformats.org/officeDocument/2006/relationships/themeOverride" Target="../theme/themeOverride620.xml"/><Relationship Id="rId2" Type="http://schemas.openxmlformats.org/officeDocument/2006/relationships/package" Target="../embeddings/Microsoft_Excel_Worksheet619.xlsx"/></Relationships>
</file>

<file path=ppt/charts/_rels/chart626.xml.rels><?xml version='1.0' encoding='UTF-8' standalone='yes'?>
<Relationships xmlns="http://schemas.openxmlformats.org/package/2006/relationships"><Relationship Id="rId1" Type="http://schemas.openxmlformats.org/officeDocument/2006/relationships/themeOverride" Target="../theme/themeOverride626.xml"/><Relationship Id="rId2"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themeOverride" Target="../theme/themeOverride627.xml"/><Relationship Id="rId2"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themeOverride" Target="../theme/themeOverride628.xml"/><Relationship Id="rId2"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themeOverride" Target="../theme/themeOverride629.xml"/><Relationship Id="rId2" Type="http://schemas.openxmlformats.org/officeDocument/2006/relationships/package" Target="../embeddings/Microsoft_Excel_Worksheet628.xlsx"/></Relationships>
</file>

<file path=ppt/charts/_rels/chart630.xml.rels><?xml version='1.0' encoding='UTF-8' standalone='yes'?>
<Relationships xmlns="http://schemas.openxmlformats.org/package/2006/relationships"><Relationship Id="rId1" Type="http://schemas.openxmlformats.org/officeDocument/2006/relationships/themeOverride" Target="../theme/themeOverride630.xml"/><Relationship Id="rId2" Type="http://schemas.openxmlformats.org/officeDocument/2006/relationships/package" Target="../embeddings/Microsoft_Excel_Worksheet629.xlsx"/></Relationships>
</file>

<file path=ppt/charts/_rels/chart646.xml.rels><?xml version='1.0' encoding='UTF-8' standalone='yes'?>
<Relationships xmlns="http://schemas.openxmlformats.org/package/2006/relationships"><Relationship Id="rId1" Type="http://schemas.openxmlformats.org/officeDocument/2006/relationships/themeOverride" Target="../theme/themeOverride646.xml"/><Relationship Id="rId2"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themeOverride" Target="../theme/themeOverride647.xml"/><Relationship Id="rId2"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themeOverride" Target="../theme/themeOverride648.xml"/><Relationship Id="rId2"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themeOverride" Target="../theme/themeOverride649.xml"/><Relationship Id="rId2" Type="http://schemas.openxmlformats.org/officeDocument/2006/relationships/package" Target="../embeddings/Microsoft_Excel_Worksheet648.xlsx"/></Relationships>
</file>

<file path=ppt/charts/_rels/chart650.xml.rels><?xml version='1.0' encoding='UTF-8' standalone='yes'?>
<Relationships xmlns="http://schemas.openxmlformats.org/package/2006/relationships"><Relationship Id="rId1" Type="http://schemas.openxmlformats.org/officeDocument/2006/relationships/themeOverride" Target="../theme/themeOverride650.xml"/><Relationship Id="rId2" Type="http://schemas.openxmlformats.org/officeDocument/2006/relationships/package" Target="../embeddings/Microsoft_Excel_Worksheet649.xlsx"/></Relationships>
</file>

<file path=ppt/charts/_rels/chart66.xml.rels><?xml version='1.0' encoding='UTF-8' standalone='yes'?>
<Relationships xmlns="http://schemas.openxmlformats.org/package/2006/relationships"><Relationship Id="rId1" Type="http://schemas.openxmlformats.org/officeDocument/2006/relationships/themeOverride" Target="../theme/themeOverride66.xml"/><Relationship Id="rId2" Type="http://schemas.openxmlformats.org/officeDocument/2006/relationships/package" Target="../embeddings/Microsoft_Excel_Worksheet65.xlsx"/></Relationships>
</file>

<file path=ppt/charts/_rels/chart666.xml.rels><?xml version='1.0' encoding='UTF-8' standalone='yes'?>
<Relationships xmlns="http://schemas.openxmlformats.org/package/2006/relationships"><Relationship Id="rId1" Type="http://schemas.openxmlformats.org/officeDocument/2006/relationships/themeOverride" Target="../theme/themeOverride666.xml"/><Relationship Id="rId2"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themeOverride" Target="../theme/themeOverride667.xml"/><Relationship Id="rId2"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themeOverride" Target="../theme/themeOverride668.xml"/><Relationship Id="rId2"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themeOverride" Target="../theme/themeOverride669.xml"/><Relationship Id="rId2"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themeOverride" Target="../theme/themeOverride67.xml"/><Relationship Id="rId2"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themeOverride" Target="../theme/themeOverride670.xml"/><Relationship Id="rId2"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themeOverride" Target="../theme/themeOverride671.xml"/><Relationship Id="rId2"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themeOverride" Target="../theme/themeOverride672.xml"/><Relationship Id="rId2"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themeOverride" Target="../theme/themeOverride673.xml"/><Relationship Id="rId2"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themeOverride" Target="../theme/themeOverride674.xml"/><Relationship Id="rId2"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themeOverride" Target="../theme/themeOverride675.xml"/><Relationship Id="rId2"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themeOverride" Target="../theme/themeOverride676.xml"/><Relationship Id="rId2"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themeOverride" Target="../theme/themeOverride677.xml"/><Relationship Id="rId2"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themeOverride" Target="../theme/themeOverride678.xml"/><Relationship Id="rId2"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themeOverride" Target="../theme/themeOverride679.xml"/><Relationship Id="rId2"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themeOverride" Target="../theme/themeOverride68.xml"/><Relationship Id="rId2"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themeOverride" Target="../theme/themeOverride680.xml"/><Relationship Id="rId2"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themeOverride" Target="../theme/themeOverride681.xml"/><Relationship Id="rId2"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themeOverride" Target="../theme/themeOverride682.xml"/><Relationship Id="rId2"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themeOverride" Target="../theme/themeOverride683.xml"/><Relationship Id="rId2"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themeOverride" Target="../theme/themeOverride684.xml"/><Relationship Id="rId2"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themeOverride" Target="../theme/themeOverride685.xml"/><Relationship Id="rId2" Type="http://schemas.openxmlformats.org/officeDocument/2006/relationships/package" Target="../embeddings/Microsoft_Excel_Worksheet684.xlsx"/></Relationships>
</file>

<file path=ppt/charts/_rels/chart69.xml.rels><?xml version='1.0' encoding='UTF-8' standalone='yes'?>
<Relationships xmlns="http://schemas.openxmlformats.org/package/2006/relationships"><Relationship Id="rId1" Type="http://schemas.openxmlformats.org/officeDocument/2006/relationships/themeOverride" Target="../theme/themeOverride69.xml"/><Relationship Id="rId2"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themeOverride" Target="../theme/themeOverride70.xml"/><Relationship Id="rId2" Type="http://schemas.openxmlformats.org/officeDocument/2006/relationships/package" Target="../embeddings/Microsoft_Excel_Worksheet69.xlsx"/></Relationships>
</file>

<file path=ppt/charts/_rels/chart701.xml.rels><?xml version='1.0' encoding='UTF-8' standalone='yes'?>
<Relationships xmlns="http://schemas.openxmlformats.org/package/2006/relationships"><Relationship Id="rId1" Type="http://schemas.openxmlformats.org/officeDocument/2006/relationships/themeOverride" Target="../theme/themeOverride701.xml"/><Relationship Id="rId2"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themeOverride" Target="../theme/themeOverride702.xml"/><Relationship Id="rId2"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themeOverride" Target="../theme/themeOverride703.xml"/><Relationship Id="rId2"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themeOverride" Target="../theme/themeOverride704.xml"/><Relationship Id="rId2"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themeOverride" Target="../theme/themeOverride705.xml"/><Relationship Id="rId2" Type="http://schemas.openxmlformats.org/officeDocument/2006/relationships/package" Target="../embeddings/Microsoft_Excel_Worksheet704.xlsx"/></Relationships>
</file>

<file path=ppt/charts/_rels/chart721.xml.rels><?xml version='1.0' encoding='UTF-8' standalone='yes'?>
<Relationships xmlns="http://schemas.openxmlformats.org/package/2006/relationships"><Relationship Id="rId1" Type="http://schemas.openxmlformats.org/officeDocument/2006/relationships/themeOverride" Target="../theme/themeOverride721.xml"/><Relationship Id="rId2"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themeOverride" Target="../theme/themeOverride722.xml"/><Relationship Id="rId2"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themeOverride" Target="../theme/themeOverride723.xml"/><Relationship Id="rId2"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themeOverride" Target="../theme/themeOverride724.xml"/><Relationship Id="rId2"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themeOverride" Target="../theme/themeOverride725.xml"/><Relationship Id="rId2" Type="http://schemas.openxmlformats.org/officeDocument/2006/relationships/package" Target="../embeddings/Microsoft_Excel_Worksheet724.xlsx"/></Relationships>
</file>

<file path=ppt/charts/_rels/chart731.xml.rels><?xml version='1.0' encoding='UTF-8' standalone='yes'?>
<Relationships xmlns="http://schemas.openxmlformats.org/package/2006/relationships"><Relationship Id="rId1" Type="http://schemas.openxmlformats.org/officeDocument/2006/relationships/themeOverride" Target="../theme/themeOverride731.xml"/><Relationship Id="rId2"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themeOverride" Target="../theme/themeOverride732.xml"/><Relationship Id="rId2"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themeOverride" Target="../theme/themeOverride733.xml"/><Relationship Id="rId2"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themeOverride" Target="../theme/themeOverride734.xml"/><Relationship Id="rId2"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themeOverride" Target="../theme/themeOverride735.xml"/><Relationship Id="rId2"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themeOverride" Target="../theme/themeOverride736.xml"/><Relationship Id="rId2"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themeOverride" Target="../theme/themeOverride737.xml"/><Relationship Id="rId2"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themeOverride" Target="../theme/themeOverride738.xml"/><Relationship Id="rId2"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themeOverride" Target="../theme/themeOverride739.xml"/><Relationship Id="rId2" Type="http://schemas.openxmlformats.org/officeDocument/2006/relationships/package" Target="../embeddings/Microsoft_Excel_Worksheet738.xlsx"/></Relationships>
</file>

<file path=ppt/charts/_rels/chart740.xml.rels><?xml version='1.0' encoding='UTF-8' standalone='yes'?>
<Relationships xmlns="http://schemas.openxmlformats.org/package/2006/relationships"><Relationship Id="rId1" Type="http://schemas.openxmlformats.org/officeDocument/2006/relationships/themeOverride" Target="../theme/themeOverride740.xml"/><Relationship Id="rId2" Type="http://schemas.openxmlformats.org/officeDocument/2006/relationships/package" Target="../embeddings/Microsoft_Excel_Worksheet739.xlsx"/></Relationships>
</file>

<file path=ppt/charts/_rels/chart756.xml.rels><?xml version='1.0' encoding='UTF-8' standalone='yes'?>
<Relationships xmlns="http://schemas.openxmlformats.org/package/2006/relationships"><Relationship Id="rId1" Type="http://schemas.openxmlformats.org/officeDocument/2006/relationships/themeOverride" Target="../theme/themeOverride756.xml"/><Relationship Id="rId2"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themeOverride" Target="../theme/themeOverride757.xml"/><Relationship Id="rId2"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themeOverride" Target="../theme/themeOverride758.xml"/><Relationship Id="rId2"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themeOverride" Target="../theme/themeOverride759.xml"/><Relationship Id="rId2"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themeOverride" Target="../theme/themeOverride76.xml"/><Relationship Id="rId2"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themeOverride" Target="../theme/themeOverride760.xml"/><Relationship Id="rId2" Type="http://schemas.openxmlformats.org/officeDocument/2006/relationships/package" Target="../embeddings/Microsoft_Excel_Worksheet759.xlsx"/></Relationships>
</file>

<file path=ppt/charts/_rels/chart77.xml.rels><?xml version='1.0' encoding='UTF-8' standalone='yes'?>
<Relationships xmlns="http://schemas.openxmlformats.org/package/2006/relationships"><Relationship Id="rId1" Type="http://schemas.openxmlformats.org/officeDocument/2006/relationships/themeOverride" Target="../theme/themeOverride77.xml"/><Relationship Id="rId2"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themeOverride" Target="../theme/themeOverride78.xml"/><Relationship Id="rId2"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themeOverride" Target="../theme/themeOverride79.xml"/><Relationship Id="rId2" Type="http://schemas.openxmlformats.org/officeDocument/2006/relationships/package" Target="../embeddings/Microsoft_Excel_Worksheet78.xlsx"/></Relationships>
</file>

<file path=ppt/charts/_rels/chart791.xml.rels><?xml version='1.0' encoding='UTF-8' standalone='yes'?>
<Relationships xmlns="http://schemas.openxmlformats.org/package/2006/relationships"><Relationship Id="rId1" Type="http://schemas.openxmlformats.org/officeDocument/2006/relationships/themeOverride" Target="../theme/themeOverride791.xml"/><Relationship Id="rId2"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themeOverride" Target="../theme/themeOverride792.xml"/><Relationship Id="rId2"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themeOverride" Target="../theme/themeOverride793.xml"/><Relationship Id="rId2"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themeOverride" Target="../theme/themeOverride794.xml"/><Relationship Id="rId2"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themeOverride" Target="../theme/themeOverride795.xml"/><Relationship Id="rId2" Type="http://schemas.openxmlformats.org/officeDocument/2006/relationships/package" Target="../embeddings/Microsoft_Excel_Worksheet794.xlsx"/></Relationships>
</file>

<file path=ppt/charts/_rels/chart8.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themeOverride" Target="../theme/themeOverride80.xml"/><Relationship Id="rId2"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themeOverride" Target="../theme/themeOverride81.xml"/><Relationship Id="rId2" Type="http://schemas.openxmlformats.org/officeDocument/2006/relationships/package" Target="../embeddings/Microsoft_Excel_Worksheet80.xlsx"/></Relationships>
</file>

<file path=ppt/charts/_rels/chart811.xml.rels><?xml version='1.0' encoding='UTF-8' standalone='yes'?>
<Relationships xmlns="http://schemas.openxmlformats.org/package/2006/relationships"><Relationship Id="rId1" Type="http://schemas.openxmlformats.org/officeDocument/2006/relationships/themeOverride" Target="../theme/themeOverride811.xml"/><Relationship Id="rId2"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themeOverride" Target="../theme/themeOverride812.xml"/><Relationship Id="rId2"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themeOverride" Target="../theme/themeOverride813.xml"/><Relationship Id="rId2"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themeOverride" Target="../theme/themeOverride814.xml"/><Relationship Id="rId2"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themeOverride" Target="../theme/themeOverride815.xml"/><Relationship Id="rId2" Type="http://schemas.openxmlformats.org/officeDocument/2006/relationships/package" Target="../embeddings/Microsoft_Excel_Worksheet814.xlsx"/></Relationships>
</file>

<file path=ppt/charts/_rels/chart82.xml.rels><?xml version='1.0' encoding='UTF-8' standalone='yes'?>
<Relationships xmlns="http://schemas.openxmlformats.org/package/2006/relationships"><Relationship Id="rId1" Type="http://schemas.openxmlformats.org/officeDocument/2006/relationships/themeOverride" Target="../theme/themeOverride82.xml"/><Relationship Id="rId2" Type="http://schemas.openxmlformats.org/officeDocument/2006/relationships/package" Target="../embeddings/Microsoft_Excel_Worksheet81.xlsx"/></Relationships>
</file>

<file path=ppt/charts/_rels/chart826.xml.rels><?xml version='1.0' encoding='UTF-8' standalone='yes'?>
<Relationships xmlns="http://schemas.openxmlformats.org/package/2006/relationships"><Relationship Id="rId1" Type="http://schemas.openxmlformats.org/officeDocument/2006/relationships/themeOverride" Target="../theme/themeOverride826.xml"/><Relationship Id="rId2"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themeOverride" Target="../theme/themeOverride827.xml"/><Relationship Id="rId2"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themeOverride" Target="../theme/themeOverride828.xml"/><Relationship Id="rId2"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themeOverride" Target="../theme/themeOverride829.xml"/><Relationship Id="rId2"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themeOverride" Target="../theme/themeOverride83.xml"/><Relationship Id="rId2"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themeOverride" Target="../theme/themeOverride830.xml"/><Relationship Id="rId2" Type="http://schemas.openxmlformats.org/officeDocument/2006/relationships/package" Target="../embeddings/Microsoft_Excel_Worksheet829.xlsx"/></Relationships>
</file>

<file path=ppt/charts/_rels/chart84.xml.rels><?xml version='1.0' encoding='UTF-8' standalone='yes'?>
<Relationships xmlns="http://schemas.openxmlformats.org/package/2006/relationships"><Relationship Id="rId1" Type="http://schemas.openxmlformats.org/officeDocument/2006/relationships/themeOverride" Target="../theme/themeOverride84.xml"/><Relationship Id="rId2" Type="http://schemas.openxmlformats.org/officeDocument/2006/relationships/package" Target="../embeddings/Microsoft_Excel_Worksheet83.xlsx"/></Relationships>
</file>

<file path=ppt/charts/_rels/chart846.xml.rels><?xml version='1.0' encoding='UTF-8' standalone='yes'?>
<Relationships xmlns="http://schemas.openxmlformats.org/package/2006/relationships"><Relationship Id="rId1" Type="http://schemas.openxmlformats.org/officeDocument/2006/relationships/themeOverride" Target="../theme/themeOverride846.xml"/><Relationship Id="rId2"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themeOverride" Target="../theme/themeOverride847.xml"/><Relationship Id="rId2"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themeOverride" Target="../theme/themeOverride848.xml"/><Relationship Id="rId2"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themeOverride" Target="../theme/themeOverride849.xml"/><Relationship Id="rId2"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themeOverride" Target="../theme/themeOverride85.xml"/><Relationship Id="rId2"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themeOverride" Target="../theme/themeOverride850.xml"/><Relationship Id="rId2" Type="http://schemas.openxmlformats.org/officeDocument/2006/relationships/package" Target="../embeddings/Microsoft_Excel_Worksheet849.xlsx"/></Relationships>
</file>

<file path=ppt/charts/_rels/chart866.xml.rels><?xml version='1.0' encoding='UTF-8' standalone='yes'?>
<Relationships xmlns="http://schemas.openxmlformats.org/package/2006/relationships"><Relationship Id="rId1" Type="http://schemas.openxmlformats.org/officeDocument/2006/relationships/themeOverride" Target="../theme/themeOverride866.xml"/><Relationship Id="rId2"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themeOverride" Target="../theme/themeOverride867.xml"/><Relationship Id="rId2"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themeOverride" Target="../theme/themeOverride868.xml"/><Relationship Id="rId2" Type="http://schemas.openxmlformats.org/officeDocument/2006/relationships/package" Target="../embeddings/Microsoft_Excel_Worksheet867.xlsx"/></Relationships>
</file>

<file path=ppt/charts/_rels/chart871.xml.rels><?xml version='1.0' encoding='UTF-8' standalone='yes'?>
<Relationships xmlns="http://schemas.openxmlformats.org/package/2006/relationships"><Relationship Id="rId1" Type="http://schemas.openxmlformats.org/officeDocument/2006/relationships/themeOverride" Target="../theme/themeOverride871.xml"/><Relationship Id="rId2"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themeOverride" Target="../theme/themeOverride872.xml"/><Relationship Id="rId2"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themeOverride" Target="../theme/themeOverride873.xml"/><Relationship Id="rId2"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themeOverride" Target="../theme/themeOverride874.xml"/><Relationship Id="rId2"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themeOverride" Target="../theme/themeOverride875.xml"/><Relationship Id="rId2"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themeOverride" Target="../theme/themeOverride876.xml"/><Relationship Id="rId2" Type="http://schemas.openxmlformats.org/officeDocument/2006/relationships/package" Target="../embeddings/Microsoft_Excel_Worksheet875.xlsx"/></Relationships>
</file>

<file path=ppt/charts/_rels/chart886.xml.rels><?xml version='1.0' encoding='UTF-8' standalone='yes'?>
<Relationships xmlns="http://schemas.openxmlformats.org/package/2006/relationships"><Relationship Id="rId1" Type="http://schemas.openxmlformats.org/officeDocument/2006/relationships/themeOverride" Target="../theme/themeOverride886.xml"/><Relationship Id="rId2"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themeOverride" Target="../theme/themeOverride887.xml"/><Relationship Id="rId2"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themeOverride" Target="../theme/themeOverride888.xml"/><Relationship Id="rId2" Type="http://schemas.openxmlformats.org/officeDocument/2006/relationships/package" Target="../embeddings/Microsoft_Excel_Worksheet887.xlsx"/></Relationships>
</file>

<file path=ppt/charts/_rels/chart898.xml.rels><?xml version='1.0' encoding='UTF-8' standalone='yes'?>
<Relationships xmlns="http://schemas.openxmlformats.org/package/2006/relationships"><Relationship Id="rId1" Type="http://schemas.openxmlformats.org/officeDocument/2006/relationships/themeOverride" Target="../theme/themeOverride898.xml"/><Relationship Id="rId2"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themeOverride" Target="../theme/themeOverride899.xml"/><Relationship Id="rId2"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8.xlsx"/></Relationships>
</file>

<file path=ppt/charts/_rels/chart900.xml.rels><?xml version='1.0' encoding='UTF-8' standalone='yes'?>
<Relationships xmlns="http://schemas.openxmlformats.org/package/2006/relationships"><Relationship Id="rId1" Type="http://schemas.openxmlformats.org/officeDocument/2006/relationships/themeOverride" Target="../theme/themeOverride900.xml"/><Relationship Id="rId2" Type="http://schemas.openxmlformats.org/officeDocument/2006/relationships/package" Target="../embeddings/Microsoft_Excel_Worksheet899.xlsx"/></Relationships>
</file>

<file path=ppt/charts/_rels/chart903.xml.rels><?xml version='1.0' encoding='UTF-8' standalone='yes'?>
<Relationships xmlns="http://schemas.openxmlformats.org/package/2006/relationships"><Relationship Id="rId1" Type="http://schemas.openxmlformats.org/officeDocument/2006/relationships/themeOverride" Target="../theme/themeOverride903.xml"/><Relationship Id="rId2"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themeOverride" Target="../theme/themeOverride904.xml"/><Relationship Id="rId2"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themeOverride" Target="../theme/themeOverride905.xml"/><Relationship Id="rId2"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themeOverride" Target="../theme/themeOverride906.xml"/><Relationship Id="rId2"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themeOverride" Target="../theme/themeOverride907.xml"/><Relationship Id="rId2"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themeOverride" Target="../theme/themeOverride908.xml"/><Relationship Id="rId2" Type="http://schemas.openxmlformats.org/officeDocument/2006/relationships/package" Target="../embeddings/Microsoft_Excel_Worksheet907.xlsx"/></Relationships>
</file>

<file path=ppt/charts/_rels/chart918.xml.rels><?xml version='1.0' encoding='UTF-8' standalone='yes'?>
<Relationships xmlns="http://schemas.openxmlformats.org/package/2006/relationships"><Relationship Id="rId1" Type="http://schemas.openxmlformats.org/officeDocument/2006/relationships/themeOverride" Target="../theme/themeOverride918.xml"/><Relationship Id="rId2"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themeOverride" Target="../theme/themeOverride919.xml"/><Relationship Id="rId2" Type="http://schemas.openxmlformats.org/officeDocument/2006/relationships/package" Target="../embeddings/Microsoft_Excel_Worksheet918.xlsx"/></Relationships>
</file>

<file path=ppt/charts/_rels/chart920.xml.rels><?xml version='1.0' encoding='UTF-8' standalone='yes'?>
<Relationships xmlns="http://schemas.openxmlformats.org/package/2006/relationships"><Relationship Id="rId1" Type="http://schemas.openxmlformats.org/officeDocument/2006/relationships/themeOverride" Target="../theme/themeOverride920.xml"/><Relationship Id="rId2" Type="http://schemas.openxmlformats.org/officeDocument/2006/relationships/package" Target="../embeddings/Microsoft_Excel_Worksheet919.xlsx"/></Relationships>
</file>

<file path=ppt/charts/_rels/chart932.xml.rels><?xml version='1.0' encoding='UTF-8' standalone='yes'?>
<Relationships xmlns="http://schemas.openxmlformats.org/package/2006/relationships"><Relationship Id="rId1" Type="http://schemas.openxmlformats.org/officeDocument/2006/relationships/themeOverride" Target="../theme/themeOverride932.xml"/><Relationship Id="rId2"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themeOverride" Target="../theme/themeOverride933.xml"/><Relationship Id="rId2"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themeOverride" Target="../theme/themeOverride934.xml"/><Relationship Id="rId2" Type="http://schemas.openxmlformats.org/officeDocument/2006/relationships/package" Target="../embeddings/Microsoft_Excel_Worksheet933.xlsx"/></Relationships>
</file>

<file path=ppt/charts/_rels/chart944.xml.rels><?xml version='1.0' encoding='UTF-8' standalone='yes'?>
<Relationships xmlns="http://schemas.openxmlformats.org/package/2006/relationships"><Relationship Id="rId1" Type="http://schemas.openxmlformats.org/officeDocument/2006/relationships/themeOverride" Target="../theme/themeOverride944.xml"/><Relationship Id="rId2"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themeOverride" Target="../theme/themeOverride945.xml"/><Relationship Id="rId2"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themeOverride" Target="../theme/themeOverride946.xml"/><Relationship Id="rId2"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themeOverride" Target="../theme/themeOverride947.xml"/><Relationship Id="rId2"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themeOverride" Target="../theme/themeOverride948.xml"/><Relationship Id="rId2"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themeOverride" Target="../theme/themeOverride949.xml"/><Relationship Id="rId2" Type="http://schemas.openxmlformats.org/officeDocument/2006/relationships/package" Target="../embeddings/Microsoft_Excel_Worksheet948.xlsx"/></Relationships>
</file>

<file path=ppt/charts/_rels/chart964.xml.rels><?xml version='1.0' encoding='UTF-8' standalone='yes'?>
<Relationships xmlns="http://schemas.openxmlformats.org/package/2006/relationships"><Relationship Id="rId1" Type="http://schemas.openxmlformats.org/officeDocument/2006/relationships/themeOverride" Target="../theme/themeOverride964.xml"/><Relationship Id="rId2"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themeOverride" Target="../theme/themeOverride965.xml"/><Relationship Id="rId2"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themeOverride" Target="../theme/themeOverride966.xml"/><Relationship Id="rId2" Type="http://schemas.openxmlformats.org/officeDocument/2006/relationships/package" Target="../embeddings/Microsoft_Excel_Worksheet965.xlsx"/></Relationships>
</file>

<file path=ppt/charts/_rels/chart976.xml.rels><?xml version='1.0' encoding='UTF-8' standalone='yes'?>
<Relationships xmlns="http://schemas.openxmlformats.org/package/2006/relationships"><Relationship Id="rId1" Type="http://schemas.openxmlformats.org/officeDocument/2006/relationships/themeOverride" Target="../theme/themeOverride976.xml"/><Relationship Id="rId2"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themeOverride" Target="../theme/themeOverride977.xml"/><Relationship Id="rId2"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themeOverride" Target="../theme/themeOverride978.xml"/><Relationship Id="rId2"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themeOverride" Target="../theme/themeOverride979.xml"/><Relationship Id="rId2" Type="http://schemas.openxmlformats.org/officeDocument/2006/relationships/package" Target="../embeddings/Microsoft_Excel_Worksheet978.xlsx"/></Relationships>
</file>

<file path=ppt/charts/_rels/chart995.xml.rels><?xml version='1.0' encoding='UTF-8' standalone='yes'?>
<Relationships xmlns="http://schemas.openxmlformats.org/package/2006/relationships"><Relationship Id="rId1" Type="http://schemas.openxmlformats.org/officeDocument/2006/relationships/themeOverride" Target="../theme/themeOverride995.xml"/><Relationship Id="rId2"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themeOverride" Target="../theme/themeOverride996.xml"/><Relationship Id="rId2"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themeOverride" Target="../theme/themeOverride997.xml"/><Relationship Id="rId2" Type="http://schemas.openxmlformats.org/officeDocument/2006/relationships/package" Target="../embeddings/Microsoft_Excel_Worksheet996.xlsx"/></Relationships>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3359793580476953</c:v>
                </c:pt>
                <c:pt idx="1">
                  <c:v>-0.015580244532000811</c:v>
                </c:pt>
                <c:pt idx="2">
                  <c:v>0.0025901867009728435</c:v>
                </c:pt>
                <c:pt idx="3">
                  <c:v>-0.007372095263380465</c:v>
                </c:pt>
                <c:pt idx="4">
                  <c:v>-0.007778555383403496</c:v>
                </c:pt>
                <c:pt idx="5">
                  <c:v>0.01752907711051176</c:v>
                </c:pt>
                <c:pt idx="6">
                  <c:v>0.02909447631214284</c:v>
                </c:pt>
                <c:pt idx="7">
                  <c:v>-0.0009085104305091192</c:v>
                </c:pt>
                <c:pt idx="8">
                  <c:v>4.829649904746587e-06</c:v>
                </c:pt>
                <c:pt idx="9">
                  <c:v>-0.00421937058376131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30165928921361</c:v>
                </c:pt>
                <c:pt idx="1">
                  <c:v>0.4287064149605887</c:v>
                </c:pt>
                <c:pt idx="2">
                  <c:v>0.07826464045153503</c:v>
                </c:pt>
                <c:pt idx="3">
                  <c:v>1.2351695740141803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136785043092092</c:v>
                </c:pt>
                <c:pt idx="1">
                  <c:v>0.39946730662787</c:v>
                </c:pt>
                <c:pt idx="2">
                  <c:v>0.05968325762246101</c:v>
                </c:pt>
                <c:pt idx="3">
                  <c:v>0.027170835033658084</c:v>
                </c:pt>
                <c:pt idx="4">
                  <c:v>9.640680161072145e-0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1378788941215</c:v>
                </c:pt>
                <c:pt idx="1">
                  <c:v>0.35680609507300975</c:v>
                </c:pt>
                <c:pt idx="2">
                  <c:v>0.1431193814535085</c:v>
                </c:pt>
                <c:pt idx="3">
                  <c:v>0.0086957345322667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187243252263516</c:v>
                </c:pt>
                <c:pt idx="1">
                  <c:v>0.392410130554029</c:v>
                </c:pt>
                <c:pt idx="2">
                  <c:v>0.04571421276000674</c:v>
                </c:pt>
                <c:pt idx="3">
                  <c:v>0.026462758217925857</c:v>
                </c:pt>
                <c:pt idx="4">
                  <c:v>0.0166885732416868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9560546875</c:v>
                </c:pt>
                <c:pt idx="1">
                  <c:v>0.004394531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4161928184302117</c:v>
                </c:pt>
                <c:pt idx="2">
                  <c:v>0.16038702948339015</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3802614438</c:v>
                </c:pt>
                <c:pt idx="1">
                  <c:v>0.13266334621086204</c:v>
                </c:pt>
                <c:pt idx="2">
                  <c:v>0.1359583464354701</c:v>
                </c:pt>
                <c:pt idx="3">
                  <c:v>0.09508052198912897</c:v>
                </c:pt>
                <c:pt idx="4">
                  <c:v>0.09469588068819909</c:v>
                </c:pt>
                <c:pt idx="5">
                  <c:v>0.07268372939221059</c:v>
                </c:pt>
                <c:pt idx="6">
                  <c:v>0.06265217195992992</c:v>
                </c:pt>
                <c:pt idx="7">
                  <c:v>0.06859810880014375</c:v>
                </c:pt>
                <c:pt idx="8">
                  <c:v>0.03611809891738916</c:v>
                </c:pt>
                <c:pt idx="9">
                  <c:v>0.0168644153452225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084562686772561</c:v>
                </c:pt>
                <c:pt idx="1">
                  <c:v>0.28196985756299575</c:v>
                </c:pt>
                <c:pt idx="2">
                  <c:v>0.007773566265697097</c:v>
                </c:pt>
                <c:pt idx="3">
                  <c:v>0.00180030749405107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751870442276731</c:v>
                </c:pt>
                <c:pt idx="1">
                  <c:v>1.6955027274583517e-06</c:v>
                </c:pt>
                <c:pt idx="2">
                  <c:v>0.0248112602695994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08025485377108</c:v>
                </c:pt>
                <c:pt idx="1">
                  <c:v>0.4313502250587963</c:v>
                </c:pt>
                <c:pt idx="2">
                  <c:v>0.10543188117041521</c:v>
                </c:pt>
                <c:pt idx="3">
                  <c:v>0.0024153452330777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6119548034882738</c:v>
                </c:pt>
                <c:pt idx="1">
                  <c:v>-0.030346211551738667</c:v>
                </c:pt>
                <c:pt idx="2">
                  <c:v>0.00153567143528327</c:v>
                </c:pt>
                <c:pt idx="3">
                  <c:v>0.01533521074149982</c:v>
                </c:pt>
                <c:pt idx="4">
                  <c:v>0.00735578679583891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62454047095713</c:v>
                </c:pt>
                <c:pt idx="1">
                  <c:v>0.1277667851493929</c:v>
                </c:pt>
                <c:pt idx="2">
                  <c:v>0.0097791677548940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9987608689495</c:v>
                </c:pt>
                <c:pt idx="1">
                  <c:v>0.000123913105049990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579469711127686</c:v>
                </c:pt>
                <c:pt idx="1">
                  <c:v>0.1514792723529505</c:v>
                </c:pt>
                <c:pt idx="2">
                  <c:v>0.14129657648957608</c:v>
                </c:pt>
                <c:pt idx="3">
                  <c:v>0.11292946273944228</c:v>
                </c:pt>
                <c:pt idx="4">
                  <c:v>0.09957982902827671</c:v>
                </c:pt>
                <c:pt idx="5">
                  <c:v>0.04571421276000674</c:v>
                </c:pt>
                <c:pt idx="6">
                  <c:v>0.026462758217925857</c:v>
                </c:pt>
                <c:pt idx="7">
                  <c:v>0.010748864853390478</c:v>
                </c:pt>
                <c:pt idx="8">
                  <c:v>5.002612879866587e-05</c:v>
                </c:pt>
                <c:pt idx="9">
                  <c:v>0.0059443003183558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852975145390778</c:v>
                </c:pt>
                <c:pt idx="1">
                  <c:v>0.1625516279029704</c:v>
                </c:pt>
                <c:pt idx="2">
                  <c:v>0.11419097981397446</c:v>
                </c:pt>
                <c:pt idx="3">
                  <c:v>0.0379598777439772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2722537139341824</c:v>
                </c:pt>
                <c:pt idx="1">
                  <c:v>-0.038764616940759555</c:v>
                </c:pt>
                <c:pt idx="2">
                  <c:v>0.002465106489603776</c:v>
                </c:pt>
                <c:pt idx="3">
                  <c:v>0.015205099603449608</c:v>
                </c:pt>
                <c:pt idx="4">
                  <c:v>-0.00613095496621380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10667648951775464</c:v>
                </c:pt>
                <c:pt idx="1">
                  <c:v>0.89332351048224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147476873176453</c:v>
                </c:pt>
                <c:pt idx="1">
                  <c:v>0.05307172860269944</c:v>
                </c:pt>
                <c:pt idx="2">
                  <c:v>0.032180584079655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880240822447782</c:v>
                </c:pt>
                <c:pt idx="1">
                  <c:v>0.0119759177552218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955273426125444</c:v>
                </c:pt>
                <c:pt idx="1">
                  <c:v>0.20447265738745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714234990678289</c:v>
                </c:pt>
                <c:pt idx="1">
                  <c:v>-0.0013892804504270773</c:v>
                </c:pt>
                <c:pt idx="2">
                  <c:v>-0.01977847519275755</c:v>
                </c:pt>
                <c:pt idx="3">
                  <c:v>-0.009917088094015342</c:v>
                </c:pt>
                <c:pt idx="4">
                  <c:v>-0.017410380090645314</c:v>
                </c:pt>
                <c:pt idx="5">
                  <c:v>0.002465106489603776</c:v>
                </c:pt>
                <c:pt idx="6">
                  <c:v>0.015205099603449608</c:v>
                </c:pt>
                <c:pt idx="7">
                  <c:v>-0.005561263696685194</c:v>
                </c:pt>
                <c:pt idx="8">
                  <c:v>-0.0001831243614037688</c:v>
                </c:pt>
                <c:pt idx="9">
                  <c:v>-0.000572944113902018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505401920205578</c:v>
                </c:pt>
                <c:pt idx="1">
                  <c:v>0.4349587170511467</c:v>
                </c:pt>
                <c:pt idx="2">
                  <c:v>0.0145010909282955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364431450493147</c:v>
                </c:pt>
                <c:pt idx="1">
                  <c:v>0.12108249529627978</c:v>
                </c:pt>
                <c:pt idx="2">
                  <c:v>0.13712865571888133</c:v>
                </c:pt>
                <c:pt idx="3">
                  <c:v>0.12056578811885513</c:v>
                </c:pt>
                <c:pt idx="4">
                  <c:v>0.1160525568580709</c:v>
                </c:pt>
                <c:pt idx="5">
                  <c:v>0.04604403867815321</c:v>
                </c:pt>
                <c:pt idx="6">
                  <c:v>0.024874021423378502</c:v>
                </c:pt>
                <c:pt idx="7">
                  <c:v>0.01802874339685046</c:v>
                </c:pt>
                <c:pt idx="8">
                  <c:v>0.032579386004599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340168665360554</c:v>
                </c:pt>
                <c:pt idx="1">
                  <c:v>0.0976103674825877</c:v>
                </c:pt>
                <c:pt idx="2">
                  <c:v>0.10003474612194443</c:v>
                </c:pt>
                <c:pt idx="3">
                  <c:v>0.06995786671205835</c:v>
                </c:pt>
                <c:pt idx="4">
                  <c:v>0.06967485727648245</c:v>
                </c:pt>
                <c:pt idx="5">
                  <c:v>0.053478867664787925</c:v>
                </c:pt>
                <c:pt idx="6">
                  <c:v>0.046097898954476385</c:v>
                </c:pt>
                <c:pt idx="7">
                  <c:v>0.050472770360772995</c:v>
                </c:pt>
                <c:pt idx="8">
                  <c:v>0.051716978996155204</c:v>
                </c:pt>
                <c:pt idx="9">
                  <c:v>0.0269387798946791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Amazon 1P</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736978293252724</c:v>
                </c:pt>
                <c:pt idx="1">
                  <c:v>0.0870871479187573</c:v>
                </c:pt>
                <c:pt idx="2">
                  <c:v>0.06702595214043393</c:v>
                </c:pt>
                <c:pt idx="3">
                  <c:v>0.06244266511107559</c:v>
                </c:pt>
                <c:pt idx="4">
                  <c:v>0.056724288278703544</c:v>
                </c:pt>
                <c:pt idx="5">
                  <c:v>0.05323599987496536</c:v>
                </c:pt>
                <c:pt idx="6">
                  <c:v>0.028410761922592214</c:v>
                </c:pt>
                <c:pt idx="7">
                  <c:v>0.01956517313681982</c:v>
                </c:pt>
                <c:pt idx="8">
                  <c:v>0.0005841475880384568</c:v>
                </c:pt>
                <c:pt idx="9">
                  <c:v>0.0512260347033414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CV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518363382282485</c:v>
                </c:pt>
                <c:pt idx="1">
                  <c:v>0.09852780339867812</c:v>
                </c:pt>
                <c:pt idx="2">
                  <c:v>0.09498387252938817</c:v>
                </c:pt>
                <c:pt idx="3">
                  <c:v>0.06917234035543501</c:v>
                </c:pt>
                <c:pt idx="4">
                  <c:v>0.06534741420836437</c:v>
                </c:pt>
                <c:pt idx="5">
                  <c:v>0.053717452670138124</c:v>
                </c:pt>
                <c:pt idx="6">
                  <c:v>0.017835565666280893</c:v>
                </c:pt>
                <c:pt idx="7">
                  <c:v>0.01669162314198245</c:v>
                </c:pt>
                <c:pt idx="8">
                  <c:v>0.010797220516323265</c:v>
                </c:pt>
                <c:pt idx="9">
                  <c:v>0.0210903692851610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Walmart Div1 Corp</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722639369644477</c:v>
                </c:pt>
                <c:pt idx="1">
                  <c:v>0.12247412168963266</c:v>
                </c:pt>
                <c:pt idx="2">
                  <c:v>0.11735835005748303</c:v>
                </c:pt>
                <c:pt idx="3">
                  <c:v>0.07646828803236626</c:v>
                </c:pt>
                <c:pt idx="4">
                  <c:v>0.06968814714715271</c:v>
                </c:pt>
                <c:pt idx="5">
                  <c:v>0.052602894135080173</c:v>
                </c:pt>
                <c:pt idx="6">
                  <c:v>0.04975031199426668</c:v>
                </c:pt>
                <c:pt idx="7">
                  <c:v>0.03952049431541648</c:v>
                </c:pt>
                <c:pt idx="8">
                  <c:v>0.015974249551305695</c:v>
                </c:pt>
                <c:pt idx="9">
                  <c:v>0.083899206112848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1126786360439</c:v>
                </c:pt>
                <c:pt idx="1">
                  <c:v>0.1576792121431938</c:v>
                </c:pt>
                <c:pt idx="2">
                  <c:v>0.11255945483328154</c:v>
                </c:pt>
                <c:pt idx="3">
                  <c:v>0.10677695117169655</c:v>
                </c:pt>
                <c:pt idx="4">
                  <c:v>0.0929670094226846</c:v>
                </c:pt>
                <c:pt idx="5">
                  <c:v>0.08948809369909215</c:v>
                </c:pt>
                <c:pt idx="6">
                  <c:v>0.05618248270477455</c:v>
                </c:pt>
                <c:pt idx="7">
                  <c:v>0.049247567444617266</c:v>
                </c:pt>
                <c:pt idx="8">
                  <c:v>0.029508892907504008</c:v>
                </c:pt>
                <c:pt idx="9">
                  <c:v>0.0134776570371116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119995997015167</c:v>
                </c:pt>
                <c:pt idx="1">
                  <c:v>0.15537469605959806</c:v>
                </c:pt>
                <c:pt idx="2">
                  <c:v>0.14683455997261727</c:v>
                </c:pt>
                <c:pt idx="3">
                  <c:v>0.12866042868196648</c:v>
                </c:pt>
                <c:pt idx="4">
                  <c:v>0.10722850589316237</c:v>
                </c:pt>
                <c:pt idx="5">
                  <c:v>0.06427937933430072</c:v>
                </c:pt>
                <c:pt idx="6">
                  <c:v>7.68689116739946e-06</c:v>
                </c:pt>
                <c:pt idx="7">
                  <c:v>0.00641478319703605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47012510350479</c:v>
                </c:pt>
                <c:pt idx="1">
                  <c:v>0.15437112240016718</c:v>
                </c:pt>
                <c:pt idx="2">
                  <c:v>0.13913727605913223</c:v>
                </c:pt>
                <c:pt idx="3">
                  <c:v>0.11537522018314729</c:v>
                </c:pt>
                <c:pt idx="4">
                  <c:v>0.09654557802609672</c:v>
                </c:pt>
                <c:pt idx="5">
                  <c:v>0.044469192658069846</c:v>
                </c:pt>
                <c:pt idx="6">
                  <c:v>0.02848180059725528</c:v>
                </c:pt>
                <c:pt idx="7">
                  <c:v>0.010997983799499877</c:v>
                </c:pt>
                <c:pt idx="8">
                  <c:v>3.617122764410544e-05</c:v>
                </c:pt>
                <c:pt idx="9">
                  <c:v>0.00588440401393959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039084107744645</c:v>
                </c:pt>
                <c:pt idx="1">
                  <c:v>0.2972622280894873</c:v>
                </c:pt>
                <c:pt idx="2">
                  <c:v>0.12015594263644211</c:v>
                </c:pt>
                <c:pt idx="3">
                  <c:v>0.04506890019954308</c:v>
                </c:pt>
                <c:pt idx="4">
                  <c:v>0.037992596970366346</c:v>
                </c:pt>
                <c:pt idx="5">
                  <c:v>0.022504165607831098</c:v>
                </c:pt>
                <c:pt idx="6">
                  <c:v>0.010677523499996617</c:v>
                </c:pt>
                <c:pt idx="7">
                  <c:v>0.008870375759977308</c:v>
                </c:pt>
                <c:pt idx="8">
                  <c:v>0.001654167792160166</c:v>
                </c:pt>
                <c:pt idx="9">
                  <c:v>0.1054232583667494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685340542077295</c:v>
                </c:pt>
                <c:pt idx="1">
                  <c:v>0.33041219446047565</c:v>
                </c:pt>
                <c:pt idx="2">
                  <c:v>0.06917234035543501</c:v>
                </c:pt>
                <c:pt idx="3">
                  <c:v>0.010797846997598316</c:v>
                </c:pt>
                <c:pt idx="4">
                  <c:v>0.0210835639787614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9560546875</c:v>
                </c:pt>
                <c:pt idx="1">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3802614438</c:v>
                </c:pt>
                <c:pt idx="1">
                  <c:v>0.1359583464354701</c:v>
                </c:pt>
                <c:pt idx="2">
                  <c:v>0.13266334621086204</c:v>
                </c:pt>
                <c:pt idx="3">
                  <c:v>0.09508052198912897</c:v>
                </c:pt>
                <c:pt idx="4">
                  <c:v>0.09469588068819909</c:v>
                </c:pt>
                <c:pt idx="5">
                  <c:v>0.07268372939221059</c:v>
                </c:pt>
                <c:pt idx="6">
                  <c:v>0.06859810880014375</c:v>
                </c:pt>
                <c:pt idx="7">
                  <c:v>0.06265217195992992</c:v>
                </c:pt>
                <c:pt idx="8">
                  <c:v>0.03611809891738916</c:v>
                </c:pt>
                <c:pt idx="9">
                  <c:v>0.07951658730515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8722886614365722</c:v>
                </c:pt>
                <c:pt idx="1">
                  <c:v>0.12116157631556924</c:v>
                </c:pt>
                <c:pt idx="2">
                  <c:v>0.004885237147954687</c:v>
                </c:pt>
                <c:pt idx="3">
                  <c:v>0.0016509435526806744</c:v>
                </c:pt>
                <c:pt idx="4">
                  <c:v>1.6060441446371236e-06</c:v>
                </c:pt>
                <c:pt idx="5">
                  <c:v>1.197550307848985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9646768205870293</c:v>
                </c:pt>
                <c:pt idx="1">
                  <c:v>0.034393741116182285</c:v>
                </c:pt>
                <c:pt idx="2">
                  <c:v>0.00024622152387272035</c:v>
                </c:pt>
                <c:pt idx="3">
                  <c:v>6.949071377857168e-06</c:v>
                </c:pt>
                <c:pt idx="4">
                  <c:v>0.00067626770153781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217516059944972</c:v>
                </c:pt>
                <c:pt idx="1">
                  <c:v>0.20268630661581125</c:v>
                </c:pt>
                <c:pt idx="2">
                  <c:v>0.07076675463891442</c:v>
                </c:pt>
                <c:pt idx="3">
                  <c:v>0.001442310842809843</c:v>
                </c:pt>
                <c:pt idx="4">
                  <c:v>1.5670323740341027e-06</c:v>
                </c:pt>
                <c:pt idx="5">
                  <c:v>7.122874427427739e-07</c:v>
                </c:pt>
                <c:pt idx="6">
                  <c:v>0.0033507425881505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7169451419878933</c:v>
                </c:pt>
                <c:pt idx="1">
                  <c:v>0.23758263298449503</c:v>
                </c:pt>
                <c:pt idx="2">
                  <c:v>0.04349361712082594</c:v>
                </c:pt>
                <c:pt idx="3">
                  <c:v>0.0019641530186846547</c:v>
                </c:pt>
                <c:pt idx="4">
                  <c:v>5.8960727780792386e-06</c:v>
                </c:pt>
                <c:pt idx="5">
                  <c:v>8.558815323018248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079937321891876</c:v>
                </c:pt>
                <c:pt idx="1">
                  <c:v>0.21337096548615694</c:v>
                </c:pt>
                <c:pt idx="2">
                  <c:v>0.07650302579314303</c:v>
                </c:pt>
                <c:pt idx="3">
                  <c:v>0.0014865797292929219</c:v>
                </c:pt>
                <c:pt idx="4">
                  <c:v>1.5700299618237795e-06</c:v>
                </c:pt>
                <c:pt idx="5">
                  <c:v>1.544909482434599e-06</c:v>
                </c:pt>
                <c:pt idx="6">
                  <c:v>0.00064258186277523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180030600706499</c:v>
                </c:pt>
                <c:pt idx="1">
                  <c:v>0.40793081009579485</c:v>
                </c:pt>
                <c:pt idx="2">
                  <c:v>0.02588868535829343</c:v>
                </c:pt>
                <c:pt idx="3">
                  <c:v>0.015059189812768785</c:v>
                </c:pt>
                <c:pt idx="4">
                  <c:v>0.010120863647031214</c:v>
                </c:pt>
                <c:pt idx="5">
                  <c:v>0.0018332992986830115</c:v>
                </c:pt>
                <c:pt idx="6">
                  <c:v>0.0211640917167788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915209142657527</c:v>
                </c:pt>
                <c:pt idx="1">
                  <c:v>0.15957203198995884</c:v>
                </c:pt>
                <c:pt idx="2">
                  <c:v>0.1576852519912485</c:v>
                </c:pt>
                <c:pt idx="3">
                  <c:v>0.12867067818976763</c:v>
                </c:pt>
                <c:pt idx="4">
                  <c:v>0.04980926563333812</c:v>
                </c:pt>
                <c:pt idx="5">
                  <c:v>0.0127418579299342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642847607563295</c:v>
                </c:pt>
                <c:pt idx="1">
                  <c:v>0.11492510623458434</c:v>
                </c:pt>
                <c:pt idx="2">
                  <c:v>0.11008673812182412</c:v>
                </c:pt>
                <c:pt idx="3">
                  <c:v>0.10909480524273803</c:v>
                </c:pt>
                <c:pt idx="4">
                  <c:v>0.05655995295676871</c:v>
                </c:pt>
                <c:pt idx="5">
                  <c:v>0.045028359432888465</c:v>
                </c:pt>
                <c:pt idx="6">
                  <c:v>2.027725486681004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385816362462586</c:v>
                </c:pt>
                <c:pt idx="1">
                  <c:v>0.16783760784083573</c:v>
                </c:pt>
                <c:pt idx="2">
                  <c:v>0.16440870943130464</c:v>
                </c:pt>
                <c:pt idx="3">
                  <c:v>0.015557251012383356</c:v>
                </c:pt>
                <c:pt idx="4">
                  <c:v>0.00926536181700804</c:v>
                </c:pt>
                <c:pt idx="5">
                  <c:v>0.0043494336522096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147476873176453</c:v>
                </c:pt>
                <c:pt idx="1">
                  <c:v>0.05307172860269944</c:v>
                </c:pt>
                <c:pt idx="2">
                  <c:v>0.032180584079655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880240822447782</c:v>
                </c:pt>
                <c:pt idx="1">
                  <c:v>0.0119759177552218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955273426125444</c:v>
                </c:pt>
                <c:pt idx="1">
                  <c:v>0.20447265738745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864682311124173</c:v>
                </c:pt>
                <c:pt idx="1">
                  <c:v>0.07367227256831871</c:v>
                </c:pt>
                <c:pt idx="2">
                  <c:v>0.06986972669465698</c:v>
                </c:pt>
                <c:pt idx="3">
                  <c:v>0.04058190853195257</c:v>
                </c:pt>
                <c:pt idx="4">
                  <c:v>0.029327017864640488</c:v>
                </c:pt>
                <c:pt idx="5">
                  <c:v>0.027946876919863795</c:v>
                </c:pt>
                <c:pt idx="6">
                  <c:v>0.024580723674484405</c:v>
                </c:pt>
                <c:pt idx="7">
                  <c:v>0.012393922460415452</c:v>
                </c:pt>
                <c:pt idx="8">
                  <c:v>0.0008336650027476338</c:v>
                </c:pt>
                <c:pt idx="9">
                  <c:v>0.034325655170502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6182448714581561</c:v>
                </c:pt>
                <c:pt idx="1">
                  <c:v>0.0938346048430012</c:v>
                </c:pt>
                <c:pt idx="2">
                  <c:v>0.08589601692238787</c:v>
                </c:pt>
                <c:pt idx="3">
                  <c:v>0.056919833937341506</c:v>
                </c:pt>
                <c:pt idx="4">
                  <c:v>0.0514574293005666</c:v>
                </c:pt>
                <c:pt idx="5">
                  <c:v>0.0381585676087282</c:v>
                </c:pt>
                <c:pt idx="6">
                  <c:v>0.027113886690277218</c:v>
                </c:pt>
                <c:pt idx="7">
                  <c:v>0.025375215615829883</c:v>
                </c:pt>
                <c:pt idx="8">
                  <c:v>0.00299957362371142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5485667833671</c:v>
                </c:pt>
                <c:pt idx="1">
                  <c:v>0.17979403359289628</c:v>
                </c:pt>
                <c:pt idx="2">
                  <c:v>0.10995785856448954</c:v>
                </c:pt>
                <c:pt idx="3">
                  <c:v>0.08058810055333705</c:v>
                </c:pt>
                <c:pt idx="4">
                  <c:v>0.07621791940303367</c:v>
                </c:pt>
                <c:pt idx="5">
                  <c:v>0.06054523212446642</c:v>
                </c:pt>
                <c:pt idx="6">
                  <c:v>0.012740341022752313</c:v>
                </c:pt>
                <c:pt idx="7">
                  <c:v>0.012580595918552887</c:v>
                </c:pt>
                <c:pt idx="8">
                  <c:v>0.0038173438048317815</c:v>
                </c:pt>
                <c:pt idx="9">
                  <c:v>0.0482729071819690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9324706144963</c:v>
                </c:pt>
                <c:pt idx="1">
                  <c:v>0.18229427662159678</c:v>
                </c:pt>
                <c:pt idx="2">
                  <c:v>0.11050485725556362</c:v>
                </c:pt>
                <c:pt idx="3">
                  <c:v>0.09681398918521283</c:v>
                </c:pt>
                <c:pt idx="4">
                  <c:v>0.08948700928705275</c:v>
                </c:pt>
                <c:pt idx="5">
                  <c:v>0.06681815984141566</c:v>
                </c:pt>
                <c:pt idx="6">
                  <c:v>0.012655207830169796</c:v>
                </c:pt>
                <c:pt idx="7">
                  <c:v>0.004285609067178291</c:v>
                </c:pt>
                <c:pt idx="8">
                  <c:v>0.0009857750348947914</c:v>
                </c:pt>
                <c:pt idx="9">
                  <c:v>0.028222645262419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8442938018938916</c:v>
                </c:pt>
                <c:pt idx="1">
                  <c:v>0.1685188171114495</c:v>
                </c:pt>
                <c:pt idx="2">
                  <c:v>0.11535216466911427</c:v>
                </c:pt>
                <c:pt idx="3">
                  <c:v>0.1011267653487721</c:v>
                </c:pt>
                <c:pt idx="4">
                  <c:v>0.08621623878978703</c:v>
                </c:pt>
                <c:pt idx="5">
                  <c:v>0.060608895983562006</c:v>
                </c:pt>
                <c:pt idx="6">
                  <c:v>0.021869121924100104</c:v>
                </c:pt>
                <c:pt idx="7">
                  <c:v>0.013870848471181418</c:v>
                </c:pt>
                <c:pt idx="8">
                  <c:v>0.002387381423101636</c:v>
                </c:pt>
                <c:pt idx="9">
                  <c:v>0.0456203860895427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009145150716845</c:v>
                </c:pt>
                <c:pt idx="1">
                  <c:v>0.19274478777166093</c:v>
                </c:pt>
                <c:pt idx="2">
                  <c:v>0.14872822518421644</c:v>
                </c:pt>
                <c:pt idx="3">
                  <c:v>0.08182271518723878</c:v>
                </c:pt>
                <c:pt idx="4">
                  <c:v>0.07725241400404144</c:v>
                </c:pt>
                <c:pt idx="5">
                  <c:v>0.04494495342390264</c:v>
                </c:pt>
                <c:pt idx="6">
                  <c:v>0.013095228285993684</c:v>
                </c:pt>
                <c:pt idx="7">
                  <c:v>0.0064548343856612265</c:v>
                </c:pt>
                <c:pt idx="8">
                  <c:v>0.00580217905537353</c:v>
                </c:pt>
                <c:pt idx="9">
                  <c:v>0.0390632111947428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05401920205578</c:v>
                </c:pt>
                <c:pt idx="1">
                  <c:v>0.202989323531258</c:v>
                </c:pt>
                <c:pt idx="2">
                  <c:v>0.1703187645057737</c:v>
                </c:pt>
                <c:pt idx="3">
                  <c:v>0.05937977672312899</c:v>
                </c:pt>
                <c:pt idx="4">
                  <c:v>0.0022379586031110667</c:v>
                </c:pt>
                <c:pt idx="5">
                  <c:v>0.0145339846161704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75753141273858</c:v>
                </c:pt>
                <c:pt idx="1">
                  <c:v>0.13712865571888133</c:v>
                </c:pt>
                <c:pt idx="2">
                  <c:v>0.12108249529627978</c:v>
                </c:pt>
                <c:pt idx="3">
                  <c:v>0.12056282391705227</c:v>
                </c:pt>
                <c:pt idx="4">
                  <c:v>0.1160525568580709</c:v>
                </c:pt>
                <c:pt idx="5">
                  <c:v>0.04604403867815321</c:v>
                </c:pt>
                <c:pt idx="6">
                  <c:v>0.04602266522304838</c:v>
                </c:pt>
                <c:pt idx="7">
                  <c:v>0.024874021423378502</c:v>
                </c:pt>
                <c:pt idx="8">
                  <c:v>4.633515449731818e-05</c:v>
                </c:pt>
                <c:pt idx="9">
                  <c:v>0.0506110936032525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88675656313341</c:v>
                </c:pt>
                <c:pt idx="1">
                  <c:v>0.10003474612194443</c:v>
                </c:pt>
                <c:pt idx="2">
                  <c:v>0.0976103674825877</c:v>
                </c:pt>
                <c:pt idx="3">
                  <c:v>0.06995786671205835</c:v>
                </c:pt>
                <c:pt idx="4">
                  <c:v>0.06967485727648245</c:v>
                </c:pt>
                <c:pt idx="5">
                  <c:v>0.053478867664787925</c:v>
                </c:pt>
                <c:pt idx="6">
                  <c:v>0.05171367377646965</c:v>
                </c:pt>
                <c:pt idx="7">
                  <c:v>0.04514930090472126</c:v>
                </c:pt>
                <c:pt idx="8">
                  <c:v>0.1235127544296141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643352855155924</c:v>
                </c:pt>
                <c:pt idx="1">
                  <c:v>0.17659999109061342</c:v>
                </c:pt>
                <c:pt idx="2">
                  <c:v>0.11357653025589189</c:v>
                </c:pt>
                <c:pt idx="3">
                  <c:v>0.10760999105211606</c:v>
                </c:pt>
                <c:pt idx="4">
                  <c:v>0.08505879370205362</c:v>
                </c:pt>
                <c:pt idx="5">
                  <c:v>0.05940196017504195</c:v>
                </c:pt>
                <c:pt idx="6">
                  <c:v>0.02651532441991369</c:v>
                </c:pt>
                <c:pt idx="7">
                  <c:v>0.011133433463106066</c:v>
                </c:pt>
                <c:pt idx="8">
                  <c:v>3.849734945748985e-06</c:v>
                </c:pt>
                <c:pt idx="9">
                  <c:v>0.0036665975547583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83457553921267</c:v>
                </c:pt>
                <c:pt idx="1">
                  <c:v>0.124398016808163</c:v>
                </c:pt>
                <c:pt idx="2">
                  <c:v>0.11038177185338349</c:v>
                </c:pt>
                <c:pt idx="3">
                  <c:v>0.07879613231492678</c:v>
                </c:pt>
                <c:pt idx="4">
                  <c:v>0.07474814785813749</c:v>
                </c:pt>
                <c:pt idx="5">
                  <c:v>0.06508063481866577</c:v>
                </c:pt>
                <c:pt idx="6">
                  <c:v>0.06264525429843588</c:v>
                </c:pt>
                <c:pt idx="7">
                  <c:v>0.042975010796464014</c:v>
                </c:pt>
                <c:pt idx="8">
                  <c:v>2.6836477559650555e-07</c:v>
                </c:pt>
                <c:pt idx="9">
                  <c:v>0.082629007494921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6046734526086257</c:v>
                </c:pt>
                <c:pt idx="1">
                  <c:v>0.032946187599420904</c:v>
                </c:pt>
                <c:pt idx="2">
                  <c:v>0.03101619331891544</c:v>
                </c:pt>
                <c:pt idx="3">
                  <c:v>0.02454858442510143</c:v>
                </c:pt>
                <c:pt idx="4">
                  <c:v>0.0186955977765465</c:v>
                </c:pt>
                <c:pt idx="5">
                  <c:v>0.010894520009294178</c:v>
                </c:pt>
                <c:pt idx="6">
                  <c:v>0.010489240200897245</c:v>
                </c:pt>
                <c:pt idx="7">
                  <c:v>0.010048660387138286</c:v>
                </c:pt>
                <c:pt idx="8">
                  <c:v>0.25668756367406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9889452974213</c:v>
                </c:pt>
                <c:pt idx="1">
                  <c:v>0.411652945459916</c:v>
                </c:pt>
                <c:pt idx="2">
                  <c:v>0.075406413947257</c:v>
                </c:pt>
                <c:pt idx="3">
                  <c:v>0.0099516952954056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38205155189213</c:v>
                </c:pt>
                <c:pt idx="1">
                  <c:v>0.30944703541999274</c:v>
                </c:pt>
                <c:pt idx="2">
                  <c:v>0.06467531656238576</c:v>
                </c:pt>
                <c:pt idx="3">
                  <c:v>0.05826721314321606</c:v>
                </c:pt>
                <c:pt idx="4">
                  <c:v>0.0294052796851924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4161928184302117</c:v>
                </c:pt>
                <c:pt idx="2">
                  <c:v>0.16038702948339015</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36686001610332</c:v>
                </c:pt>
                <c:pt idx="1">
                  <c:v>0.26606249075702054</c:v>
                </c:pt>
                <c:pt idx="2">
                  <c:v>0.00026890908194620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51007351975874</c:v>
                </c:pt>
                <c:pt idx="1">
                  <c:v>0.35179050633495423</c:v>
                </c:pt>
                <c:pt idx="2">
                  <c:v>0.09474343146539595</c:v>
                </c:pt>
                <c:pt idx="3">
                  <c:v>0.002458710223775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260660733115293</c:v>
                </c:pt>
                <c:pt idx="1">
                  <c:v>0.23912405649980042</c:v>
                </c:pt>
                <c:pt idx="2">
                  <c:v>0.15378755383982987</c:v>
                </c:pt>
                <c:pt idx="3">
                  <c:v>0.1457086006708011</c:v>
                </c:pt>
                <c:pt idx="4">
                  <c:v>0.11517330021029555</c:v>
                </c:pt>
                <c:pt idx="5">
                  <c:v>0.015075152360016442</c:v>
                </c:pt>
                <c:pt idx="6">
                  <c:v>0.0050652631077273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0230784967239774</c:v>
                </c:pt>
                <c:pt idx="1">
                  <c:v>0.367964316222416</c:v>
                </c:pt>
                <c:pt idx="2">
                  <c:v>0.17509252835031278</c:v>
                </c:pt>
                <c:pt idx="3">
                  <c:v>0.05463530575487348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8428465863314</c:v>
                </c:pt>
                <c:pt idx="1">
                  <c:v>0.43087751664103163</c:v>
                </c:pt>
                <c:pt idx="2">
                  <c:v>0.06427937933430072</c:v>
                </c:pt>
                <c:pt idx="3">
                  <c:v>0.0064146381613536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1126786360439</c:v>
                </c:pt>
                <c:pt idx="1">
                  <c:v>0.1576792121431938</c:v>
                </c:pt>
                <c:pt idx="2">
                  <c:v>0.10677695117169655</c:v>
                </c:pt>
                <c:pt idx="3">
                  <c:v>0.11255945483328154</c:v>
                </c:pt>
                <c:pt idx="4">
                  <c:v>0.0929670094226846</c:v>
                </c:pt>
                <c:pt idx="5">
                  <c:v>0.08948809369909215</c:v>
                </c:pt>
                <c:pt idx="6">
                  <c:v>0.05618248270477455</c:v>
                </c:pt>
                <c:pt idx="7">
                  <c:v>0.049247567444617266</c:v>
                </c:pt>
                <c:pt idx="8">
                  <c:v>0.029508892907504008</c:v>
                </c:pt>
                <c:pt idx="9">
                  <c:v>0.0134776570371116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8211577007691216</c:v>
                </c:pt>
                <c:pt idx="1">
                  <c:v>0.34804829598848225</c:v>
                </c:pt>
                <c:pt idx="2">
                  <c:v>0.2070408411397024</c:v>
                </c:pt>
                <c:pt idx="3">
                  <c:v>0.0627947258137021</c:v>
                </c:pt>
                <c:pt idx="4">
                  <c:v>3.669812011164067e-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20199190946356693</c:v>
                </c:pt>
                <c:pt idx="1">
                  <c:v>0.02076695781907767</c:v>
                </c:pt>
                <c:pt idx="2">
                  <c:v>0.002424881065066213</c:v>
                </c:pt>
                <c:pt idx="3">
                  <c:v>-0.0022981638474199127</c:v>
                </c:pt>
                <c:pt idx="4">
                  <c:v>-0.0006944840903672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200766649234485</c:v>
                </c:pt>
                <c:pt idx="1">
                  <c:v>0.3900937377170692</c:v>
                </c:pt>
                <c:pt idx="2">
                  <c:v>0.044469192658069846</c:v>
                </c:pt>
                <c:pt idx="3">
                  <c:v>0.02848180059725528</c:v>
                </c:pt>
                <c:pt idx="4">
                  <c:v>0.0168786041041571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36686001610332</c:v>
                </c:pt>
                <c:pt idx="1">
                  <c:v>0.26606249075702054</c:v>
                </c:pt>
                <c:pt idx="2">
                  <c:v>0.00026890908194620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50997736583057</c:v>
                </c:pt>
                <c:pt idx="1">
                  <c:v>0.1451985962457009</c:v>
                </c:pt>
                <c:pt idx="2">
                  <c:v>0.09684445295355013</c:v>
                </c:pt>
                <c:pt idx="3">
                  <c:v>0.09474343146539595</c:v>
                </c:pt>
                <c:pt idx="4">
                  <c:v>0.07993330329298513</c:v>
                </c:pt>
                <c:pt idx="5">
                  <c:v>0.028146736167346295</c:v>
                </c:pt>
                <c:pt idx="6">
                  <c:v>0.0016674176753717765</c:v>
                </c:pt>
                <c:pt idx="7">
                  <c:v>0.00246832561659287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6357113434806845</c:v>
                </c:pt>
                <c:pt idx="1">
                  <c:v>0.027344444076505603</c:v>
                </c:pt>
                <c:pt idx="2">
                  <c:v>-0.00098733064169882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260660733115293</c:v>
                </c:pt>
                <c:pt idx="1">
                  <c:v>0.23912405649980042</c:v>
                </c:pt>
                <c:pt idx="2">
                  <c:v>0.15378755383982987</c:v>
                </c:pt>
                <c:pt idx="3">
                  <c:v>0.1457086006708011</c:v>
                </c:pt>
                <c:pt idx="4">
                  <c:v>0.11517330021029555</c:v>
                </c:pt>
                <c:pt idx="5">
                  <c:v>0.015075152360016442</c:v>
                </c:pt>
                <c:pt idx="6">
                  <c:v>0.0050652631077273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785041660701312</c:v>
                </c:pt>
                <c:pt idx="1">
                  <c:v>0.25073867497600233</c:v>
                </c:pt>
                <c:pt idx="2">
                  <c:v>0.17509252835031278</c:v>
                </c:pt>
                <c:pt idx="3">
                  <c:v>0.110152983394789</c:v>
                </c:pt>
                <c:pt idx="4">
                  <c:v>0.03454566024210496</c:v>
                </c:pt>
                <c:pt idx="5">
                  <c:v>0.023798677710331728</c:v>
                </c:pt>
                <c:pt idx="6">
                  <c:v>0.01851178837491728</c:v>
                </c:pt>
                <c:pt idx="7">
                  <c:v>0.0015778571378512508</c:v>
                </c:pt>
                <c:pt idx="8">
                  <c:v>0.0070776637435595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119995997015167</c:v>
                </c:pt>
                <c:pt idx="1">
                  <c:v>0.15537469605959806</c:v>
                </c:pt>
                <c:pt idx="2">
                  <c:v>0.14683455997261727</c:v>
                </c:pt>
                <c:pt idx="3">
                  <c:v>0.12866042868196648</c:v>
                </c:pt>
                <c:pt idx="4">
                  <c:v>0.10722850589316237</c:v>
                </c:pt>
                <c:pt idx="5">
                  <c:v>0.06427937933430072</c:v>
                </c:pt>
                <c:pt idx="6">
                  <c:v>7.68689116739946e-06</c:v>
                </c:pt>
                <c:pt idx="7">
                  <c:v>0.00641478319703605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82209203795737</c:v>
                </c:pt>
                <c:pt idx="1">
                  <c:v>0.29775924530114295</c:v>
                </c:pt>
                <c:pt idx="2">
                  <c:v>0.0809052775124273</c:v>
                </c:pt>
                <c:pt idx="3">
                  <c:v>0.0183025640836522</c:v>
                </c:pt>
                <c:pt idx="4">
                  <c:v>0.016334226086000037</c:v>
                </c:pt>
                <c:pt idx="5">
                  <c:v>0.02847776663720378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390407397833479</c:v>
                </c:pt>
                <c:pt idx="1">
                  <c:v>0.3138771990636279</c:v>
                </c:pt>
                <c:pt idx="2">
                  <c:v>0.10608937046430875</c:v>
                </c:pt>
                <c:pt idx="3">
                  <c:v>0.02656913371159997</c:v>
                </c:pt>
                <c:pt idx="4">
                  <c:v>0.01442355697711554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9889452974213</c:v>
                </c:pt>
                <c:pt idx="1">
                  <c:v>0.411652945459916</c:v>
                </c:pt>
                <c:pt idx="2">
                  <c:v>0.075406413947257</c:v>
                </c:pt>
                <c:pt idx="3">
                  <c:v>0.0099516952954056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600347456308666</c:v>
                </c:pt>
                <c:pt idx="1">
                  <c:v>0.13508790126017736</c:v>
                </c:pt>
                <c:pt idx="2">
                  <c:v>0.0048773531089560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0411011367105065</c:v>
                </c:pt>
                <c:pt idx="1">
                  <c:v>0.35841774866138687</c:v>
                </c:pt>
                <c:pt idx="2">
                  <c:v>0.13793744288675955</c:v>
                </c:pt>
                <c:pt idx="3">
                  <c:v>0.046476729661821335</c:v>
                </c:pt>
                <c:pt idx="4">
                  <c:v>0.053057965118981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568102316512159</c:v>
                </c:pt>
                <c:pt idx="1">
                  <c:v>-0.05660530169468875</c:v>
                </c:pt>
                <c:pt idx="2">
                  <c:v>-0.000204929956527224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833158471587976</c:v>
                </c:pt>
                <c:pt idx="1">
                  <c:v>0.34486667185016523</c:v>
                </c:pt>
                <c:pt idx="2">
                  <c:v>0.07126876754513954</c:v>
                </c:pt>
                <c:pt idx="3">
                  <c:v>0.000548713445897667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6057294964546933</c:v>
                </c:pt>
                <c:pt idx="1">
                  <c:v>-0.060090856457951564</c:v>
                </c:pt>
                <c:pt idx="2">
                  <c:v>-0.004263002123108484</c:v>
                </c:pt>
                <c:pt idx="3">
                  <c:v>-0.0037627179942533867</c:v>
                </c:pt>
                <c:pt idx="4">
                  <c:v>0.007757250533517163</c:v>
                </c:pt>
                <c:pt idx="5">
                  <c:v>-0.000213623603673070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091232020498088</c:v>
                </c:pt>
                <c:pt idx="1">
                  <c:v>0.18357435409670594</c:v>
                </c:pt>
                <c:pt idx="2">
                  <c:v>0.0073024438534852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847658568701476</c:v>
                </c:pt>
                <c:pt idx="1">
                  <c:v>0.2984448721193745</c:v>
                </c:pt>
                <c:pt idx="2">
                  <c:v>0.18914514818829595</c:v>
                </c:pt>
                <c:pt idx="3">
                  <c:v>0.022662086937648443</c:v>
                </c:pt>
                <c:pt idx="4">
                  <c:v>0.00498203588453354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5401181102</c:v>
                </c:pt>
                <c:pt idx="1">
                  <c:v>0.13266342070404558</c:v>
                </c:pt>
                <c:pt idx="2">
                  <c:v>0.1359584227788637</c:v>
                </c:pt>
                <c:pt idx="3">
                  <c:v>0.09508057537878767</c:v>
                </c:pt>
                <c:pt idx="4">
                  <c:v>0.09469593386187383</c:v>
                </c:pt>
                <c:pt idx="5">
                  <c:v>0.07268377020561195</c:v>
                </c:pt>
                <c:pt idx="6">
                  <c:v>0.06265220714040651</c:v>
                </c:pt>
                <c:pt idx="7">
                  <c:v>0.06859814731938554</c:v>
                </c:pt>
                <c:pt idx="8">
                  <c:v>0.03611811919844077</c:v>
                </c:pt>
                <c:pt idx="9">
                  <c:v>0.0168638632944742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150692793336797</c:v>
                </c:pt>
                <c:pt idx="1">
                  <c:v>0.3319959969537642</c:v>
                </c:pt>
                <c:pt idx="2">
                  <c:v>0.19571842950041643</c:v>
                </c:pt>
                <c:pt idx="3">
                  <c:v>0.0572148140997317</c:v>
                </c:pt>
                <c:pt idx="4">
                  <c:v>1.480112407959107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480114394857366</c:v>
                </c:pt>
                <c:pt idx="1">
                  <c:v>0.05198342609517159</c:v>
                </c:pt>
                <c:pt idx="2">
                  <c:v>5.134419091823951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378309263531442</c:v>
                </c:pt>
                <c:pt idx="1">
                  <c:v>0.4096019053294413</c:v>
                </c:pt>
                <c:pt idx="2">
                  <c:v>0.03282126018742393</c:v>
                </c:pt>
                <c:pt idx="3">
                  <c:v>0.0197459081299905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147921545547003</c:v>
                </c:pt>
                <c:pt idx="1">
                  <c:v>0.3993404658294373</c:v>
                </c:pt>
                <c:pt idx="2">
                  <c:v>0.06522360545738419</c:v>
                </c:pt>
                <c:pt idx="3">
                  <c:v>0.0206437741584782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1378788941215</c:v>
                </c:pt>
                <c:pt idx="1">
                  <c:v>0.35680609507300975</c:v>
                </c:pt>
                <c:pt idx="2">
                  <c:v>0.1431193814535085</c:v>
                </c:pt>
                <c:pt idx="3">
                  <c:v>0.0086957345322667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149973144907243</c:v>
                </c:pt>
                <c:pt idx="1">
                  <c:v>0.11754442148919128</c:v>
                </c:pt>
                <c:pt idx="2">
                  <c:v>0.0995534847765181</c:v>
                </c:pt>
                <c:pt idx="3">
                  <c:v>0.0826751043959257</c:v>
                </c:pt>
                <c:pt idx="4">
                  <c:v>0.08189064782050079</c:v>
                </c:pt>
                <c:pt idx="5">
                  <c:v>0.0768631386751663</c:v>
                </c:pt>
                <c:pt idx="6">
                  <c:v>0.059049254129160275</c:v>
                </c:pt>
                <c:pt idx="7">
                  <c:v>0.059020251467432415</c:v>
                </c:pt>
                <c:pt idx="8">
                  <c:v>0.026149208874590903</c:v>
                </c:pt>
                <c:pt idx="9">
                  <c:v>0.10575475692244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83205280393078</c:v>
                </c:pt>
                <c:pt idx="1">
                  <c:v>0.24124118462307595</c:v>
                </c:pt>
                <c:pt idx="2">
                  <c:v>0.14657308199847996</c:v>
                </c:pt>
                <c:pt idx="3">
                  <c:v>0.068193311779671</c:v>
                </c:pt>
                <c:pt idx="4">
                  <c:v>0.049298962071800415</c:v>
                </c:pt>
                <c:pt idx="5">
                  <c:v>0.02715515070695433</c:v>
                </c:pt>
                <c:pt idx="6">
                  <c:v>0.026018763509739484</c:v>
                </c:pt>
                <c:pt idx="7">
                  <c:v>0.01573754338239323</c:v>
                </c:pt>
                <c:pt idx="8">
                  <c:v>0.00749492216866881</c:v>
                </c:pt>
                <c:pt idx="9">
                  <c:v>0.0199665517199090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997740229770822</c:v>
                </c:pt>
                <c:pt idx="1">
                  <c:v>0.19012727386490214</c:v>
                </c:pt>
                <c:pt idx="2">
                  <c:v>0.10840541083557183</c:v>
                </c:pt>
                <c:pt idx="3">
                  <c:v>0.04651398909703788</c:v>
                </c:pt>
                <c:pt idx="4">
                  <c:v>0.031806166920879814</c:v>
                </c:pt>
                <c:pt idx="5">
                  <c:v>0.011678891405064309</c:v>
                </c:pt>
                <c:pt idx="6">
                  <c:v>0.010466295530333635</c:v>
                </c:pt>
                <c:pt idx="7">
                  <c:v>0.0012279493691282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7871110338307</c:v>
                </c:pt>
                <c:pt idx="1">
                  <c:v>0.15435570055619008</c:v>
                </c:pt>
                <c:pt idx="2">
                  <c:v>0.10710288767483449</c:v>
                </c:pt>
                <c:pt idx="3">
                  <c:v>0.10243001731586632</c:v>
                </c:pt>
                <c:pt idx="4">
                  <c:v>0.10239996251077067</c:v>
                </c:pt>
                <c:pt idx="5">
                  <c:v>0.09428294537794622</c:v>
                </c:pt>
                <c:pt idx="6">
                  <c:v>0.05111529576412228</c:v>
                </c:pt>
                <c:pt idx="7">
                  <c:v>0.0499833606310593</c:v>
                </c:pt>
                <c:pt idx="8">
                  <c:v>0.02644424701526365</c:v>
                </c:pt>
                <c:pt idx="9">
                  <c:v>0.019098472120116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640016231552216</c:v>
                </c:pt>
                <c:pt idx="1">
                  <c:v>0.24705072395453503</c:v>
                </c:pt>
                <c:pt idx="2">
                  <c:v>0.20187052686107512</c:v>
                </c:pt>
                <c:pt idx="3">
                  <c:v>0.09386910941639101</c:v>
                </c:pt>
                <c:pt idx="4">
                  <c:v>0.03220271074942832</c:v>
                </c:pt>
                <c:pt idx="5">
                  <c:v>0.02390718562300377</c:v>
                </c:pt>
                <c:pt idx="6">
                  <c:v>0.018875876249188003</c:v>
                </c:pt>
                <c:pt idx="7">
                  <c:v>0.010481547549521878</c:v>
                </c:pt>
                <c:pt idx="8">
                  <c:v>0.0077406964416352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133801667165262</c:v>
                </c:pt>
                <c:pt idx="1">
                  <c:v>0.3389487465747112</c:v>
                </c:pt>
                <c:pt idx="2">
                  <c:v>0.046849740903304224</c:v>
                </c:pt>
                <c:pt idx="3">
                  <c:v>0.00082134580545837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518363382282485</c:v>
                </c:pt>
                <c:pt idx="1">
                  <c:v>0.09852780339867812</c:v>
                </c:pt>
                <c:pt idx="2">
                  <c:v>0.09498387252938817</c:v>
                </c:pt>
                <c:pt idx="3">
                  <c:v>0.06917234035543501</c:v>
                </c:pt>
                <c:pt idx="4">
                  <c:v>0.06534741420836437</c:v>
                </c:pt>
                <c:pt idx="5">
                  <c:v>0.053717452670138124</c:v>
                </c:pt>
                <c:pt idx="6">
                  <c:v>0.017835565666280893</c:v>
                </c:pt>
                <c:pt idx="7">
                  <c:v>0.01669162314198245</c:v>
                </c:pt>
                <c:pt idx="8">
                  <c:v>0.010797220516323265</c:v>
                </c:pt>
                <c:pt idx="9">
                  <c:v>0.0210903692851610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325758805808719</c:v>
                </c:pt>
                <c:pt idx="1">
                  <c:v>0.11196426059334602</c:v>
                </c:pt>
                <c:pt idx="2">
                  <c:v>0.1066954652340138</c:v>
                </c:pt>
                <c:pt idx="3">
                  <c:v>0.10649116547173439</c:v>
                </c:pt>
                <c:pt idx="4">
                  <c:v>0.09973116069091448</c:v>
                </c:pt>
                <c:pt idx="5">
                  <c:v>0.03479697934677425</c:v>
                </c:pt>
                <c:pt idx="6">
                  <c:v>0.003265942316386397</c:v>
                </c:pt>
                <c:pt idx="7">
                  <c:v>0.0044791457659587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701345171998794</c:v>
                </c:pt>
                <c:pt idx="1">
                  <c:v>0.17970867799729154</c:v>
                </c:pt>
                <c:pt idx="2">
                  <c:v>0.08956398681254911</c:v>
                </c:pt>
                <c:pt idx="3">
                  <c:v>0.08661410819177692</c:v>
                </c:pt>
                <c:pt idx="4">
                  <c:v>0.052351404157320064</c:v>
                </c:pt>
                <c:pt idx="5">
                  <c:v>0.021240129873224736</c:v>
                </c:pt>
                <c:pt idx="6">
                  <c:v>7.232128767617989e-06</c:v>
                </c:pt>
                <c:pt idx="7">
                  <c:v>0.00037994363919059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5401181102</c:v>
                </c:pt>
                <c:pt idx="1">
                  <c:v>0.13266342070404558</c:v>
                </c:pt>
                <c:pt idx="2">
                  <c:v>0.1359584227788637</c:v>
                </c:pt>
                <c:pt idx="3">
                  <c:v>0.09508057537878767</c:v>
                </c:pt>
                <c:pt idx="4">
                  <c:v>0.09469593386187383</c:v>
                </c:pt>
                <c:pt idx="5">
                  <c:v>0.07268377020561195</c:v>
                </c:pt>
                <c:pt idx="6">
                  <c:v>0.06265220714040651</c:v>
                </c:pt>
                <c:pt idx="7">
                  <c:v>0.06859814731938554</c:v>
                </c:pt>
                <c:pt idx="8">
                  <c:v>0.03611811919844077</c:v>
                </c:pt>
                <c:pt idx="9">
                  <c:v>0.0168638632944742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221719471534149</c:v>
                </c:pt>
                <c:pt idx="1">
                  <c:v>0.17606436064553188</c:v>
                </c:pt>
                <c:pt idx="2">
                  <c:v>0.13567561669859668</c:v>
                </c:pt>
                <c:pt idx="3">
                  <c:v>0.12594931631254833</c:v>
                </c:pt>
                <c:pt idx="4">
                  <c:v>0.09140585137619978</c:v>
                </c:pt>
                <c:pt idx="5">
                  <c:v>0.0486892647752544</c:v>
                </c:pt>
                <c:pt idx="6">
                  <c:v>1.6045234725738804e-06</c:v>
                </c:pt>
                <c:pt idx="7">
                  <c:v>4.20385149814356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709799593736616</c:v>
                </c:pt>
                <c:pt idx="1">
                  <c:v>0.1741307158478969</c:v>
                </c:pt>
                <c:pt idx="2">
                  <c:v>0.16368520897860875</c:v>
                </c:pt>
                <c:pt idx="3">
                  <c:v>0.12203663351847452</c:v>
                </c:pt>
                <c:pt idx="4">
                  <c:v>0.09087760140809331</c:v>
                </c:pt>
                <c:pt idx="5">
                  <c:v>0.07826464045153503</c:v>
                </c:pt>
                <c:pt idx="6">
                  <c:v>1.2888725989713185e-05</c:v>
                </c:pt>
                <c:pt idx="7">
                  <c:v>1.2351695740141803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4974744736173156</c:v>
                </c:pt>
                <c:pt idx="1">
                  <c:v>0.14154488007581495</c:v>
                </c:pt>
                <c:pt idx="2">
                  <c:v>0.12705884768557038</c:v>
                </c:pt>
                <c:pt idx="3">
                  <c:v>0.12389614137857938</c:v>
                </c:pt>
                <c:pt idx="4">
                  <c:v>0.09853701372483185</c:v>
                </c:pt>
                <c:pt idx="5">
                  <c:v>0.0311811556922091</c:v>
                </c:pt>
                <c:pt idx="6">
                  <c:v>0.027972597764014097</c:v>
                </c:pt>
                <c:pt idx="7">
                  <c:v>5.914006014645335e-05</c:v>
                </c:pt>
                <c:pt idx="8">
                  <c:v>2.7762571022295947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04672252002752</c:v>
                </c:pt>
                <c:pt idx="1">
                  <c:v>0.1701484364678635</c:v>
                </c:pt>
                <c:pt idx="2">
                  <c:v>0.1549988185949005</c:v>
                </c:pt>
                <c:pt idx="3">
                  <c:v>0.13321091758342807</c:v>
                </c:pt>
                <c:pt idx="4">
                  <c:v>0.07429744417012826</c:v>
                </c:pt>
                <c:pt idx="5">
                  <c:v>0.05968325762246101</c:v>
                </c:pt>
                <c:pt idx="6">
                  <c:v>0.027170835033658084</c:v>
                </c:pt>
                <c:pt idx="7">
                  <c:v>1.8220885504426354e-05</c:v>
                </c:pt>
                <c:pt idx="8">
                  <c:v>4.844441780938754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139483943372093</c:v>
                </c:pt>
                <c:pt idx="1">
                  <c:v>-0.0005977740756213101</c:v>
                </c:pt>
                <c:pt idx="2">
                  <c:v>-0.001404472870525919</c:v>
                </c:pt>
                <c:pt idx="3">
                  <c:v>-0.009740646878605624</c:v>
                </c:pt>
                <c:pt idx="4">
                  <c:v>-0.011070418991514189</c:v>
                </c:pt>
                <c:pt idx="5">
                  <c:v>-0.09351206301574495</c:v>
                </c:pt>
                <c:pt idx="6">
                  <c:v>0.011800431327799954</c:v>
                </c:pt>
                <c:pt idx="7">
                  <c:v>0.0459330517667049</c:v>
                </c:pt>
                <c:pt idx="8">
                  <c:v>0.007233482999089137</c:v>
                </c:pt>
                <c:pt idx="9">
                  <c:v>-0.0800364296953029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654480681552465</c:v>
                </c:pt>
                <c:pt idx="1">
                  <c:v>0.16166406836631503</c:v>
                </c:pt>
                <c:pt idx="2">
                  <c:v>0.04663188421003794</c:v>
                </c:pt>
                <c:pt idx="3">
                  <c:v>0.0156422582883077</c:v>
                </c:pt>
                <c:pt idx="4">
                  <c:v>0.010613720980092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3516645423568545</c:v>
                </c:pt>
                <c:pt idx="1">
                  <c:v>0.24958272027384903</c:v>
                </c:pt>
                <c:pt idx="2">
                  <c:v>0.12150074432748814</c:v>
                </c:pt>
                <c:pt idx="3">
                  <c:v>0.08922907427618401</c:v>
                </c:pt>
                <c:pt idx="4">
                  <c:v>0.06245459543312149</c:v>
                </c:pt>
                <c:pt idx="5">
                  <c:v>0.011920154781768565</c:v>
                </c:pt>
                <c:pt idx="6">
                  <c:v>0.0301462566719032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2879922887575494</c:v>
                </c:pt>
                <c:pt idx="1">
                  <c:v>0.71200771124245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5401181102</c:v>
                </c:pt>
                <c:pt idx="1">
                  <c:v>0.1359584227788637</c:v>
                </c:pt>
                <c:pt idx="2">
                  <c:v>0.13266342070404558</c:v>
                </c:pt>
                <c:pt idx="3">
                  <c:v>0.09508057537878767</c:v>
                </c:pt>
                <c:pt idx="4">
                  <c:v>0.09469593386187383</c:v>
                </c:pt>
                <c:pt idx="5">
                  <c:v>0.07268377020561195</c:v>
                </c:pt>
                <c:pt idx="6">
                  <c:v>0.06859814731938554</c:v>
                </c:pt>
                <c:pt idx="7">
                  <c:v>0.06265220714040651</c:v>
                </c:pt>
                <c:pt idx="8">
                  <c:v>0.03611811919844077</c:v>
                </c:pt>
                <c:pt idx="9">
                  <c:v>0.0795160704348807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70994887803648</c:v>
                </c:pt>
                <c:pt idx="1">
                  <c:v>0.21803238719129886</c:v>
                </c:pt>
                <c:pt idx="2">
                  <c:v>0.011605288214920587</c:v>
                </c:pt>
                <c:pt idx="3">
                  <c:v>0.0332628358134158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9986485541699341</c:v>
                </c:pt>
                <c:pt idx="1">
                  <c:v>-0.023354270056569315</c:v>
                </c:pt>
                <c:pt idx="2">
                  <c:v>0.006249038256758405</c:v>
                </c:pt>
                <c:pt idx="3">
                  <c:v>0.0038835738439164796</c:v>
                </c:pt>
                <c:pt idx="4">
                  <c:v>0.02111480018059045</c:v>
                </c:pt>
                <c:pt idx="5">
                  <c:v>-0.027470233415065687</c:v>
                </c:pt>
                <c:pt idx="6">
                  <c:v>0.012087254599748493</c:v>
                </c:pt>
                <c:pt idx="7">
                  <c:v>0.0415974417205347</c:v>
                </c:pt>
                <c:pt idx="8">
                  <c:v>-3.5285280146360454e-05</c:v>
                </c:pt>
                <c:pt idx="9">
                  <c:v>-0.02408583430806786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7868840791294</c:v>
                </c:pt>
                <c:pt idx="1">
                  <c:v>0.1543555809069617</c:v>
                </c:pt>
                <c:pt idx="2">
                  <c:v>0.10239988313516968</c:v>
                </c:pt>
                <c:pt idx="3">
                  <c:v>0.10710280465374865</c:v>
                </c:pt>
                <c:pt idx="4">
                  <c:v>0.09428287229427246</c:v>
                </c:pt>
                <c:pt idx="5">
                  <c:v>0.10242993791696825</c:v>
                </c:pt>
                <c:pt idx="6">
                  <c:v>0.04998332188632549</c:v>
                </c:pt>
                <c:pt idx="7">
                  <c:v>0.051115256141965965</c:v>
                </c:pt>
                <c:pt idx="8">
                  <c:v>0.026444226516935836</c:v>
                </c:pt>
                <c:pt idx="9">
                  <c:v>0.019099232468522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807248739625755</c:v>
                </c:pt>
                <c:pt idx="1">
                  <c:v>0.4261478899802577</c:v>
                </c:pt>
                <c:pt idx="2">
                  <c:v>0.09228036437919031</c:v>
                </c:pt>
                <c:pt idx="3">
                  <c:v>0.00084687167797649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104300747013588</c:v>
                </c:pt>
                <c:pt idx="1">
                  <c:v>0.2131417921758734</c:v>
                </c:pt>
                <c:pt idx="2">
                  <c:v>0.07491855900349445</c:v>
                </c:pt>
                <c:pt idx="3">
                  <c:v>0.0015090079670557642</c:v>
                </c:pt>
                <c:pt idx="4">
                  <c:v>5.661522176263243e-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9986485541699341</c:v>
                </c:pt>
                <c:pt idx="1">
                  <c:v>0.006249038256758405</c:v>
                </c:pt>
                <c:pt idx="2">
                  <c:v>-0.023354270056569315</c:v>
                </c:pt>
                <c:pt idx="3">
                  <c:v>0.0038835738439164796</c:v>
                </c:pt>
                <c:pt idx="4">
                  <c:v>0.02111480018059045</c:v>
                </c:pt>
                <c:pt idx="5">
                  <c:v>-0.027470233415065687</c:v>
                </c:pt>
                <c:pt idx="6">
                  <c:v>0.0415974417205347</c:v>
                </c:pt>
                <c:pt idx="7">
                  <c:v>0.012087254599748493</c:v>
                </c:pt>
                <c:pt idx="8">
                  <c:v>-3.5285280146360454e-05</c:v>
                </c:pt>
                <c:pt idx="9">
                  <c:v>-0.01199857970831936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62454047095713</c:v>
                </c:pt>
                <c:pt idx="1">
                  <c:v>0.1277667851493929</c:v>
                </c:pt>
                <c:pt idx="2">
                  <c:v>0.0097791677548940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794041050740478</c:v>
                </c:pt>
                <c:pt idx="1">
                  <c:v>0.3151375851147811</c:v>
                </c:pt>
                <c:pt idx="2">
                  <c:v>0.13292228152746105</c:v>
                </c:pt>
                <c:pt idx="3">
                  <c:v>0.05693668537270731</c:v>
                </c:pt>
                <c:pt idx="4">
                  <c:v>0.0155993429110027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147476873176453</c:v>
                </c:pt>
                <c:pt idx="1">
                  <c:v>0.05307172860269944</c:v>
                </c:pt>
                <c:pt idx="2">
                  <c:v>0.032180584079655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4161928184302117</c:v>
                </c:pt>
                <c:pt idx="2">
                  <c:v>0.16038702948339015</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751870442276731</c:v>
                </c:pt>
                <c:pt idx="1">
                  <c:v>1.6955027274583517e-06</c:v>
                </c:pt>
                <c:pt idx="2">
                  <c:v>0.0248112602695994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46768205870293</c:v>
                </c:pt>
                <c:pt idx="1">
                  <c:v>0.03464691171143286</c:v>
                </c:pt>
                <c:pt idx="2">
                  <c:v>0.00067626770153781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150692793336797</c:v>
                </c:pt>
                <c:pt idx="1">
                  <c:v>0.3319959969537642</c:v>
                </c:pt>
                <c:pt idx="2">
                  <c:v>0.19571842950041643</c:v>
                </c:pt>
                <c:pt idx="3">
                  <c:v>0.0572148140997317</c:v>
                </c:pt>
                <c:pt idx="4">
                  <c:v>1.480112407959107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8799048170661294</c:v>
                </c:pt>
                <c:pt idx="1">
                  <c:v>-0.0037462242749989882</c:v>
                </c:pt>
                <c:pt idx="2">
                  <c:v>0.013337806807945302</c:v>
                </c:pt>
                <c:pt idx="3">
                  <c:v>-0.0007930326717099645</c:v>
                </c:pt>
                <c:pt idx="4">
                  <c:v>4.983094249549075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492061662570011</c:v>
                </c:pt>
                <c:pt idx="1">
                  <c:v>0.20938129762329696</c:v>
                </c:pt>
                <c:pt idx="2">
                  <c:v>0.12867067818976763</c:v>
                </c:pt>
                <c:pt idx="3">
                  <c:v>0.0127418579299342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6156976252163253</c:v>
                </c:pt>
                <c:pt idx="1">
                  <c:v>0.3299387961561843</c:v>
                </c:pt>
                <c:pt idx="2">
                  <c:v>0.1997520169007392</c:v>
                </c:pt>
                <c:pt idx="3">
                  <c:v>0.10871209503793117</c:v>
                </c:pt>
                <c:pt idx="4">
                  <c:v>2.7329383512772994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782610440961</c:v>
                </c:pt>
                <c:pt idx="1">
                  <c:v>0.0321738955903899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623594957043234</c:v>
                </c:pt>
                <c:pt idx="1">
                  <c:v>0.2295375590241076</c:v>
                </c:pt>
                <c:pt idx="2">
                  <c:v>0.18971854716935285</c:v>
                </c:pt>
                <c:pt idx="3">
                  <c:v>0.09719980411534565</c:v>
                </c:pt>
                <c:pt idx="4">
                  <c:v>0.031069121783936726</c:v>
                </c:pt>
                <c:pt idx="5">
                  <c:v>0.028832178564707864</c:v>
                </c:pt>
                <c:pt idx="6">
                  <c:v>0.016241849051805046</c:v>
                </c:pt>
                <c:pt idx="7">
                  <c:v>0.00990318543625306</c:v>
                </c:pt>
                <c:pt idx="8">
                  <c:v>0.0112618052840588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06478578892372</c:v>
                </c:pt>
                <c:pt idx="1">
                  <c:v>0.002382445141065831</c:v>
                </c:pt>
                <c:pt idx="2">
                  <c:v>0.976969696969696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795326135943514</c:v>
                </c:pt>
                <c:pt idx="1">
                  <c:v>0.10336081808602561</c:v>
                </c:pt>
                <c:pt idx="2">
                  <c:v>0.051436690067239804</c:v>
                </c:pt>
                <c:pt idx="3">
                  <c:v>0.065669878252383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214978344818758</c:v>
                </c:pt>
                <c:pt idx="1">
                  <c:v>0.4086371560849383</c:v>
                </c:pt>
                <c:pt idx="2">
                  <c:v>0.05296566259368418</c:v>
                </c:pt>
                <c:pt idx="3">
                  <c:v>0.0168993468395017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130584247901872</c:v>
                </c:pt>
                <c:pt idx="1">
                  <c:v>0.18339485885321907</c:v>
                </c:pt>
                <c:pt idx="2">
                  <c:v>0.00354671635659369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3886531498035747</c:v>
                </c:pt>
                <c:pt idx="1">
                  <c:v>0.30397793177479654</c:v>
                </c:pt>
                <c:pt idx="2">
                  <c:v>0.19039346791453773</c:v>
                </c:pt>
                <c:pt idx="3">
                  <c:v>0.03010012514500569</c:v>
                </c:pt>
                <c:pt idx="4">
                  <c:v>0.015793973674151217</c:v>
                </c:pt>
                <c:pt idx="5">
                  <c:v>0.071081351687934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10667648951775464</c:v>
                </c:pt>
                <c:pt idx="1">
                  <c:v>0.89332351048224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1759937562646816</c:v>
                </c:pt>
                <c:pt idx="1">
                  <c:v>-0.016379450669874118</c:v>
                </c:pt>
                <c:pt idx="2">
                  <c:v>0.013028619171203543</c:v>
                </c:pt>
                <c:pt idx="3">
                  <c:v>-0.008410182875511762</c:v>
                </c:pt>
                <c:pt idx="4">
                  <c:v>1.0768115355063957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158195322796515</c:v>
                </c:pt>
                <c:pt idx="1">
                  <c:v>0.11757757661899434</c:v>
                </c:pt>
                <c:pt idx="2">
                  <c:v>0.0995815652984884</c:v>
                </c:pt>
                <c:pt idx="3">
                  <c:v>0.08269842412291062</c:v>
                </c:pt>
                <c:pt idx="4">
                  <c:v>0.08191374627999166</c:v>
                </c:pt>
                <c:pt idx="5">
                  <c:v>0.07688481905189162</c:v>
                </c:pt>
                <c:pt idx="6">
                  <c:v>0.05906590983821582</c:v>
                </c:pt>
                <c:pt idx="7">
                  <c:v>0.059040952635244275</c:v>
                </c:pt>
                <c:pt idx="8">
                  <c:v>0.02615658464286217</c:v>
                </c:pt>
                <c:pt idx="9">
                  <c:v>0.105498468283435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2121032571342637</c:v>
                </c:pt>
                <c:pt idx="1">
                  <c:v>0.3424300189149526</c:v>
                </c:pt>
                <c:pt idx="2">
                  <c:v>0.1311972399414097</c:v>
                </c:pt>
                <c:pt idx="3">
                  <c:v>0.06408226551509907</c:v>
                </c:pt>
                <c:pt idx="4">
                  <c:v>0.024791322584640674</c:v>
                </c:pt>
                <c:pt idx="5">
                  <c:v>0.0029787271551012374</c:v>
                </c:pt>
                <c:pt idx="6">
                  <c:v>0.01331010017537032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55655667046128</c:v>
                </c:pt>
                <c:pt idx="1">
                  <c:v>0.16954482875806862</c:v>
                </c:pt>
                <c:pt idx="2">
                  <c:v>0.060092957920158556</c:v>
                </c:pt>
                <c:pt idx="3">
                  <c:v>0.00408435011804435</c:v>
                </c:pt>
                <c:pt idx="4">
                  <c:v>0.0005329584176579715</c:v>
                </c:pt>
                <c:pt idx="5">
                  <c:v>0.00013488696262290012</c:v>
                </c:pt>
                <c:pt idx="6">
                  <c:v>0.0099543507773195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36771096244987422</c:v>
                </c:pt>
                <c:pt idx="1">
                  <c:v>-0.010198904704396328</c:v>
                </c:pt>
                <c:pt idx="2">
                  <c:v>0.012758500332921446</c:v>
                </c:pt>
                <c:pt idx="3">
                  <c:v>-0.00016659795075636696</c:v>
                </c:pt>
                <c:pt idx="4">
                  <c:v>-0.00607010730226758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17895092256022538</c:v>
                </c:pt>
                <c:pt idx="1">
                  <c:v>-0.0200171161525301</c:v>
                </c:pt>
                <c:pt idx="2">
                  <c:v>0.013065747599884603</c:v>
                </c:pt>
                <c:pt idx="3">
                  <c:v>0.005555125412245107</c:v>
                </c:pt>
                <c:pt idx="4">
                  <c:v>-0.002595934583006408</c:v>
                </c:pt>
                <c:pt idx="5">
                  <c:v>-0.0021910151071465427</c:v>
                </c:pt>
                <c:pt idx="6">
                  <c:v>-0.011068597118336944</c:v>
                </c:pt>
                <c:pt idx="7">
                  <c:v>0.005255949482980467</c:v>
                </c:pt>
                <c:pt idx="8">
                  <c:v>-0.00589925179011269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210522226133033</c:v>
                </c:pt>
                <c:pt idx="1">
                  <c:v>0.20732588933075502</c:v>
                </c:pt>
                <c:pt idx="2">
                  <c:v>0.1309607922717496</c:v>
                </c:pt>
                <c:pt idx="3">
                  <c:v>0.025024760538961407</c:v>
                </c:pt>
                <c:pt idx="4">
                  <c:v>0.008584745126284144</c:v>
                </c:pt>
                <c:pt idx="5">
                  <c:v>0.00705159011894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072605673026068</c:v>
                </c:pt>
                <c:pt idx="1">
                  <c:v>0.13491681584383264</c:v>
                </c:pt>
                <c:pt idx="2">
                  <c:v>0.10154918792105322</c:v>
                </c:pt>
                <c:pt idx="3">
                  <c:v>0.092683399449193</c:v>
                </c:pt>
                <c:pt idx="4">
                  <c:v>0.08885268717047211</c:v>
                </c:pt>
                <c:pt idx="5">
                  <c:v>0.08699427014743746</c:v>
                </c:pt>
                <c:pt idx="6">
                  <c:v>0.04783568028802885</c:v>
                </c:pt>
                <c:pt idx="7">
                  <c:v>0.01948341164495271</c:v>
                </c:pt>
                <c:pt idx="8">
                  <c:v>0.02042398023242323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10667648951775464</c:v>
                </c:pt>
                <c:pt idx="1">
                  <c:v>0.89332351048224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7868840791294</c:v>
                </c:pt>
                <c:pt idx="1">
                  <c:v>0.1543555809069617</c:v>
                </c:pt>
                <c:pt idx="2">
                  <c:v>0.10710280465374865</c:v>
                </c:pt>
                <c:pt idx="3">
                  <c:v>0.10242993791696825</c:v>
                </c:pt>
                <c:pt idx="4">
                  <c:v>0.10239988313516968</c:v>
                </c:pt>
                <c:pt idx="5">
                  <c:v>0.09428287229427246</c:v>
                </c:pt>
                <c:pt idx="6">
                  <c:v>0.051115256141965965</c:v>
                </c:pt>
                <c:pt idx="7">
                  <c:v>0.04998332188632549</c:v>
                </c:pt>
                <c:pt idx="8">
                  <c:v>0.026444226516935836</c:v>
                </c:pt>
                <c:pt idx="9">
                  <c:v>0.01909923246852254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261478899802577</c:v>
                </c:pt>
                <c:pt idx="1">
                  <c:v>0.3721899817784701</c:v>
                </c:pt>
                <c:pt idx="2">
                  <c:v>0.10853408895456569</c:v>
                </c:pt>
                <c:pt idx="3">
                  <c:v>0.08949942306699599</c:v>
                </c:pt>
                <c:pt idx="4">
                  <c:v>0.0008463361916167255</c:v>
                </c:pt>
                <c:pt idx="5">
                  <c:v>0.00278228002809375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104222698886443</c:v>
                </c:pt>
                <c:pt idx="1">
                  <c:v>0.2131414080011543</c:v>
                </c:pt>
                <c:pt idx="2">
                  <c:v>0.07393423260412388</c:v>
                </c:pt>
                <c:pt idx="3">
                  <c:v>0.0015056818227772095</c:v>
                </c:pt>
                <c:pt idx="4">
                  <c:v>1.799555263169388e-06</c:v>
                </c:pt>
                <c:pt idx="5">
                  <c:v>1.3446115168625204e-06</c:v>
                </c:pt>
                <c:pt idx="6">
                  <c:v>0.00099326351652024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595751862884549</c:v>
                </c:pt>
                <c:pt idx="1">
                  <c:v>0.11907777644824788</c:v>
                </c:pt>
                <c:pt idx="2">
                  <c:v>0.11292751564528695</c:v>
                </c:pt>
                <c:pt idx="3">
                  <c:v>0.11056103514589917</c:v>
                </c:pt>
                <c:pt idx="4">
                  <c:v>0.052400192258199925</c:v>
                </c:pt>
                <c:pt idx="5">
                  <c:v>0.045435628454283665</c:v>
                </c:pt>
                <c:pt idx="6">
                  <c:v>2.266575962749492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27952089875316277</c:v>
                </c:pt>
                <c:pt idx="1">
                  <c:v>0.166987203549264</c:v>
                </c:pt>
                <c:pt idx="2">
                  <c:v>0.16296511498667407</c:v>
                </c:pt>
                <c:pt idx="3">
                  <c:v>0.1292231130798239</c:v>
                </c:pt>
                <c:pt idx="4">
                  <c:v>0.1244907959238224</c:v>
                </c:pt>
                <c:pt idx="5">
                  <c:v>0.10695471147530061</c:v>
                </c:pt>
                <c:pt idx="6">
                  <c:v>0.029171925137820163</c:v>
                </c:pt>
                <c:pt idx="7">
                  <c:v>4.1930431871416063e-07</c:v>
                </c:pt>
                <c:pt idx="8">
                  <c:v>0.00068581778981339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9560546875</c:v>
                </c:pt>
                <c:pt idx="1">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370916749676694</c:v>
                </c:pt>
                <c:pt idx="1">
                  <c:v>0.28196985756299575</c:v>
                </c:pt>
                <c:pt idx="2">
                  <c:v>0.17136459370958673</c:v>
                </c:pt>
                <c:pt idx="3">
                  <c:v>4.976044809921468e-05</c:v>
                </c:pt>
                <c:pt idx="4">
                  <c:v>0.0095241133116489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8722886614365722</c:v>
                </c:pt>
                <c:pt idx="1">
                  <c:v>0.12116157631556924</c:v>
                </c:pt>
                <c:pt idx="2">
                  <c:v>0.004885237147954687</c:v>
                </c:pt>
                <c:pt idx="3">
                  <c:v>0.0016509435526806744</c:v>
                </c:pt>
                <c:pt idx="4">
                  <c:v>1.6060441446371236e-06</c:v>
                </c:pt>
                <c:pt idx="5">
                  <c:v>1.197550307848985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3802614438</c:v>
                </c:pt>
                <c:pt idx="1">
                  <c:v>0.1359583464354701</c:v>
                </c:pt>
                <c:pt idx="2">
                  <c:v>0.13266334621086204</c:v>
                </c:pt>
                <c:pt idx="3">
                  <c:v>0.09508052198912897</c:v>
                </c:pt>
                <c:pt idx="4">
                  <c:v>0.09469588068819909</c:v>
                </c:pt>
                <c:pt idx="5">
                  <c:v>0.07268372939221059</c:v>
                </c:pt>
                <c:pt idx="6">
                  <c:v>0.06859810880014375</c:v>
                </c:pt>
                <c:pt idx="7">
                  <c:v>0.06265217195992992</c:v>
                </c:pt>
                <c:pt idx="8">
                  <c:v>0.03611809891738916</c:v>
                </c:pt>
                <c:pt idx="9">
                  <c:v>0.07951658730515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313502250587963</c:v>
                </c:pt>
                <c:pt idx="1">
                  <c:v>0.3328527456808234</c:v>
                </c:pt>
                <c:pt idx="2">
                  <c:v>0.12794980285688742</c:v>
                </c:pt>
                <c:pt idx="3">
                  <c:v>0.0973958133772686</c:v>
                </c:pt>
                <c:pt idx="4">
                  <c:v>0.002415345233077713</c:v>
                </c:pt>
                <c:pt idx="5">
                  <c:v>0.00803606779314660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217516059944972</c:v>
                </c:pt>
                <c:pt idx="1">
                  <c:v>0.20268630661581125</c:v>
                </c:pt>
                <c:pt idx="2">
                  <c:v>0.07076675463891442</c:v>
                </c:pt>
                <c:pt idx="3">
                  <c:v>0.001442310842809843</c:v>
                </c:pt>
                <c:pt idx="4">
                  <c:v>1.5670323740341027e-06</c:v>
                </c:pt>
                <c:pt idx="5">
                  <c:v>7.122874427427739e-07</c:v>
                </c:pt>
                <c:pt idx="6">
                  <c:v>0.0033507425881505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915209142657527</c:v>
                </c:pt>
                <c:pt idx="1">
                  <c:v>0.15957203198995884</c:v>
                </c:pt>
                <c:pt idx="2">
                  <c:v>0.1576852519912485</c:v>
                </c:pt>
                <c:pt idx="3">
                  <c:v>0.12867067818976763</c:v>
                </c:pt>
                <c:pt idx="4">
                  <c:v>0.04980926563333812</c:v>
                </c:pt>
                <c:pt idx="5">
                  <c:v>0.0127418579299342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4676694169446836</c:v>
                </c:pt>
                <c:pt idx="1">
                  <c:v>0.1997520169007392</c:v>
                </c:pt>
                <c:pt idx="2">
                  <c:v>0.16634992014695754</c:v>
                </c:pt>
                <c:pt idx="3">
                  <c:v>0.16358887600922678</c:v>
                </c:pt>
                <c:pt idx="4">
                  <c:v>0.11480282082716417</c:v>
                </c:pt>
                <c:pt idx="5">
                  <c:v>0.10871209503793117</c:v>
                </c:pt>
                <c:pt idx="6">
                  <c:v>2.7329383512772994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76856070489533</c:v>
                </c:pt>
                <c:pt idx="1">
                  <c:v>0.03217389559038998</c:v>
                </c:pt>
                <c:pt idx="2">
                  <c:v>0.000140497360656724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531262831525708</c:v>
                </c:pt>
                <c:pt idx="1">
                  <c:v>0.3468715506813074</c:v>
                </c:pt>
                <c:pt idx="2">
                  <c:v>2.166166121835773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61249082929401</c:v>
                </c:pt>
                <c:pt idx="1">
                  <c:v>0.13977706536764944</c:v>
                </c:pt>
                <c:pt idx="2">
                  <c:v>0.13190802848294828</c:v>
                </c:pt>
                <c:pt idx="3">
                  <c:v>0.09781879349283314</c:v>
                </c:pt>
                <c:pt idx="4">
                  <c:v>0.07963211748169355</c:v>
                </c:pt>
                <c:pt idx="5">
                  <c:v>0.0147390868819354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35328100398975</c:v>
                </c:pt>
                <c:pt idx="1">
                  <c:v>0.12113453394840702</c:v>
                </c:pt>
                <c:pt idx="2">
                  <c:v>0.07630679346675324</c:v>
                </c:pt>
                <c:pt idx="3">
                  <c:v>0.06533919707655676</c:v>
                </c:pt>
                <c:pt idx="4">
                  <c:v>0.053685916645729734</c:v>
                </c:pt>
                <c:pt idx="5">
                  <c:v>0.05198032460225085</c:v>
                </c:pt>
                <c:pt idx="6">
                  <c:v>0.053161287204703166</c:v>
                </c:pt>
                <c:pt idx="7">
                  <c:v>0.049897558504140974</c:v>
                </c:pt>
                <c:pt idx="8">
                  <c:v>0.03971371883103011</c:v>
                </c:pt>
                <c:pt idx="9">
                  <c:v>0.0852478596805306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634071098727703</c:v>
                </c:pt>
                <c:pt idx="1">
                  <c:v>0.4218609465196227</c:v>
                </c:pt>
                <c:pt idx="2">
                  <c:v>0.014671543373413276</c:v>
                </c:pt>
                <c:pt idx="3">
                  <c:v>6.040023419374589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8775505146766035</c:v>
                </c:pt>
                <c:pt idx="1">
                  <c:v>0.17479456973089352</c:v>
                </c:pt>
                <c:pt idx="2">
                  <c:v>0.17179239765902454</c:v>
                </c:pt>
                <c:pt idx="3">
                  <c:v>0.14632049889622967</c:v>
                </c:pt>
                <c:pt idx="4">
                  <c:v>0.019252307360892756</c:v>
                </c:pt>
                <c:pt idx="5">
                  <c:v>8.517488529915127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1419249152233</c:v>
                </c:pt>
                <c:pt idx="1">
                  <c:v>0.10898820760830955</c:v>
                </c:pt>
                <c:pt idx="2">
                  <c:v>0.11270471095104044</c:v>
                </c:pt>
                <c:pt idx="3">
                  <c:v>0.07230305283829977</c:v>
                </c:pt>
                <c:pt idx="4">
                  <c:v>0.07562371661877831</c:v>
                </c:pt>
                <c:pt idx="5">
                  <c:v>0.06657175075327938</c:v>
                </c:pt>
                <c:pt idx="6">
                  <c:v>0.07232427407810879</c:v>
                </c:pt>
                <c:pt idx="7">
                  <c:v>0.035292489138979415</c:v>
                </c:pt>
                <c:pt idx="8">
                  <c:v>0.03609173128447114</c:v>
                </c:pt>
                <c:pt idx="9">
                  <c:v>0.0129581418135099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436289948126708</c:v>
                </c:pt>
                <c:pt idx="1">
                  <c:v>0.2674844531014468</c:v>
                </c:pt>
                <c:pt idx="2">
                  <c:v>0.08589601692238787</c:v>
                </c:pt>
                <c:pt idx="3">
                  <c:v>0.00299053516349454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364431450493147</c:v>
                </c:pt>
                <c:pt idx="1">
                  <c:v>0.12108249529627978</c:v>
                </c:pt>
                <c:pt idx="2">
                  <c:v>0.13712865571888133</c:v>
                </c:pt>
                <c:pt idx="3">
                  <c:v>0.12056578811885513</c:v>
                </c:pt>
                <c:pt idx="4">
                  <c:v>0.1160525568580709</c:v>
                </c:pt>
                <c:pt idx="5">
                  <c:v>0.04604403867815321</c:v>
                </c:pt>
                <c:pt idx="6">
                  <c:v>0.024874021423378502</c:v>
                </c:pt>
                <c:pt idx="7">
                  <c:v>0.01802874339685046</c:v>
                </c:pt>
                <c:pt idx="8">
                  <c:v>0.032579386004599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857882428178629</c:v>
                </c:pt>
                <c:pt idx="1">
                  <c:v>0.1700177781064221</c:v>
                </c:pt>
                <c:pt idx="2">
                  <c:v>0.16933012749438175</c:v>
                </c:pt>
                <c:pt idx="3">
                  <c:v>0.1534821218825923</c:v>
                </c:pt>
                <c:pt idx="4">
                  <c:v>0.02128271986032998</c:v>
                </c:pt>
                <c:pt idx="5">
                  <c:v>9.900983841093555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13210345533663</c:v>
                </c:pt>
                <c:pt idx="1">
                  <c:v>0.11038177185338349</c:v>
                </c:pt>
                <c:pt idx="2">
                  <c:v>0.124398016808163</c:v>
                </c:pt>
                <c:pt idx="3">
                  <c:v>0.07474814785813749</c:v>
                </c:pt>
                <c:pt idx="4">
                  <c:v>0.07879613231492678</c:v>
                </c:pt>
                <c:pt idx="5">
                  <c:v>0.06508063481866577</c:v>
                </c:pt>
                <c:pt idx="6">
                  <c:v>0.06264525429843588</c:v>
                </c:pt>
                <c:pt idx="7">
                  <c:v>0.03932999095938708</c:v>
                </c:pt>
                <c:pt idx="8">
                  <c:v>0.03447527216884629</c:v>
                </c:pt>
                <c:pt idx="9">
                  <c:v>0.0088237443666879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179345455603368</c:v>
                </c:pt>
                <c:pt idx="1">
                  <c:v>0.3646594102116731</c:v>
                </c:pt>
                <c:pt idx="2">
                  <c:v>0.2174049863143442</c:v>
                </c:pt>
                <c:pt idx="3">
                  <c:v>1.0579136458885324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6676786204140336</c:v>
                </c:pt>
                <c:pt idx="1">
                  <c:v>0.1523123416066424</c:v>
                </c:pt>
                <c:pt idx="2">
                  <c:v>0.14357676870467642</c:v>
                </c:pt>
                <c:pt idx="3">
                  <c:v>0.12259210399738563</c:v>
                </c:pt>
                <c:pt idx="4">
                  <c:v>0.04431738744221705</c:v>
                </c:pt>
                <c:pt idx="5">
                  <c:v>0.0177337923806938</c:v>
                </c:pt>
                <c:pt idx="6">
                  <c:v>0.0015575424278440558</c:v>
                </c:pt>
                <c:pt idx="7">
                  <c:v>0.0511422013991373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1174974771041457</c:v>
                </c:pt>
                <c:pt idx="1">
                  <c:v>-0.014817080474888417</c:v>
                </c:pt>
                <c:pt idx="2">
                  <c:v>-0.009605144969188573</c:v>
                </c:pt>
                <c:pt idx="3">
                  <c:v>0.012758500332921446</c:v>
                </c:pt>
                <c:pt idx="4">
                  <c:v>0.035179373623657</c:v>
                </c:pt>
                <c:pt idx="5">
                  <c:v>-0.017146198668403737</c:v>
                </c:pt>
                <c:pt idx="6">
                  <c:v>-0.0038096187441306155</c:v>
                </c:pt>
                <c:pt idx="7">
                  <c:v>0.00018905755930235038</c:v>
                </c:pt>
                <c:pt idx="8">
                  <c:v>-0.00013213777005987963</c:v>
                </c:pt>
                <c:pt idx="9">
                  <c:v>-0.01379172566025110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152565410428448</c:v>
                </c:pt>
                <c:pt idx="1">
                  <c:v>0.21978543575051773</c:v>
                </c:pt>
                <c:pt idx="2">
                  <c:v>0.16835975937408643</c:v>
                </c:pt>
                <c:pt idx="3">
                  <c:v>0.1386696867167784</c:v>
                </c:pt>
                <c:pt idx="4">
                  <c:v>0.05792280731677967</c:v>
                </c:pt>
                <c:pt idx="5">
                  <c:v>5.769798992971325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864682311124173</c:v>
                </c:pt>
                <c:pt idx="1">
                  <c:v>0.07367227256831871</c:v>
                </c:pt>
                <c:pt idx="2">
                  <c:v>0.06986972669465698</c:v>
                </c:pt>
                <c:pt idx="3">
                  <c:v>0.04058190853195257</c:v>
                </c:pt>
                <c:pt idx="4">
                  <c:v>0.029327017864640488</c:v>
                </c:pt>
                <c:pt idx="5">
                  <c:v>0.027946876919863795</c:v>
                </c:pt>
                <c:pt idx="6">
                  <c:v>0.024580723674484405</c:v>
                </c:pt>
                <c:pt idx="7">
                  <c:v>0.012393922460415452</c:v>
                </c:pt>
                <c:pt idx="8">
                  <c:v>0.0008336650027476338</c:v>
                </c:pt>
                <c:pt idx="9">
                  <c:v>0.034325655170502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05401920205578</c:v>
                </c:pt>
                <c:pt idx="1">
                  <c:v>0.202989323531258</c:v>
                </c:pt>
                <c:pt idx="2">
                  <c:v>0.1703187645057737</c:v>
                </c:pt>
                <c:pt idx="3">
                  <c:v>0.05937977672312899</c:v>
                </c:pt>
                <c:pt idx="4">
                  <c:v>0.0022379586031110667</c:v>
                </c:pt>
                <c:pt idx="5">
                  <c:v>0.0145339846161704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5485667833671</c:v>
                </c:pt>
                <c:pt idx="1">
                  <c:v>0.17979403359289628</c:v>
                </c:pt>
                <c:pt idx="2">
                  <c:v>0.10995785856448954</c:v>
                </c:pt>
                <c:pt idx="3">
                  <c:v>0.08058810055333705</c:v>
                </c:pt>
                <c:pt idx="4">
                  <c:v>0.07621791940303367</c:v>
                </c:pt>
                <c:pt idx="5">
                  <c:v>0.06054523212446642</c:v>
                </c:pt>
                <c:pt idx="6">
                  <c:v>0.012740341022752313</c:v>
                </c:pt>
                <c:pt idx="7">
                  <c:v>0.012580595918552887</c:v>
                </c:pt>
                <c:pt idx="8">
                  <c:v>0.0038173438048317815</c:v>
                </c:pt>
                <c:pt idx="9">
                  <c:v>0.0482729071819690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88675656313341</c:v>
                </c:pt>
                <c:pt idx="1">
                  <c:v>0.10003474612194443</c:v>
                </c:pt>
                <c:pt idx="2">
                  <c:v>0.0976103674825877</c:v>
                </c:pt>
                <c:pt idx="3">
                  <c:v>0.06995786671205835</c:v>
                </c:pt>
                <c:pt idx="4">
                  <c:v>0.06967485727648245</c:v>
                </c:pt>
                <c:pt idx="5">
                  <c:v>0.053478867664787925</c:v>
                </c:pt>
                <c:pt idx="6">
                  <c:v>0.05171367377646965</c:v>
                </c:pt>
                <c:pt idx="7">
                  <c:v>0.04514930090472126</c:v>
                </c:pt>
                <c:pt idx="8">
                  <c:v>0.1235127544296141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9324706144963</c:v>
                </c:pt>
                <c:pt idx="1">
                  <c:v>0.18229427662159678</c:v>
                </c:pt>
                <c:pt idx="2">
                  <c:v>0.11050485725556362</c:v>
                </c:pt>
                <c:pt idx="3">
                  <c:v>0.09681398918521283</c:v>
                </c:pt>
                <c:pt idx="4">
                  <c:v>0.08948700928705275</c:v>
                </c:pt>
                <c:pt idx="5">
                  <c:v>0.06681815984141566</c:v>
                </c:pt>
                <c:pt idx="6">
                  <c:v>0.012655207830169796</c:v>
                </c:pt>
                <c:pt idx="7">
                  <c:v>0.004285609067178291</c:v>
                </c:pt>
                <c:pt idx="8">
                  <c:v>0.0009857750348947914</c:v>
                </c:pt>
                <c:pt idx="9">
                  <c:v>0.028222645262419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643352855155924</c:v>
                </c:pt>
                <c:pt idx="1">
                  <c:v>0.17659999109061342</c:v>
                </c:pt>
                <c:pt idx="2">
                  <c:v>0.11357653025589189</c:v>
                </c:pt>
                <c:pt idx="3">
                  <c:v>0.10760999105211606</c:v>
                </c:pt>
                <c:pt idx="4">
                  <c:v>0.08505879370205362</c:v>
                </c:pt>
                <c:pt idx="5">
                  <c:v>0.05940196017504195</c:v>
                </c:pt>
                <c:pt idx="6">
                  <c:v>0.02651532441991369</c:v>
                </c:pt>
                <c:pt idx="7">
                  <c:v>0.011133433463106066</c:v>
                </c:pt>
                <c:pt idx="8">
                  <c:v>3.849734945748985e-06</c:v>
                </c:pt>
                <c:pt idx="9">
                  <c:v>0.0036665975547583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009145150716845</c:v>
                </c:pt>
                <c:pt idx="1">
                  <c:v>0.19274478777166093</c:v>
                </c:pt>
                <c:pt idx="2">
                  <c:v>0.14872822518421644</c:v>
                </c:pt>
                <c:pt idx="3">
                  <c:v>0.08182271518723878</c:v>
                </c:pt>
                <c:pt idx="4">
                  <c:v>0.07725241400404144</c:v>
                </c:pt>
                <c:pt idx="5">
                  <c:v>0.04494495342390264</c:v>
                </c:pt>
                <c:pt idx="6">
                  <c:v>0.013095228285993684</c:v>
                </c:pt>
                <c:pt idx="7">
                  <c:v>0.0064548343856612265</c:v>
                </c:pt>
                <c:pt idx="8">
                  <c:v>0.00580217905537353</c:v>
                </c:pt>
                <c:pt idx="9">
                  <c:v>0.0390632111947428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6046734526086257</c:v>
                </c:pt>
                <c:pt idx="1">
                  <c:v>0.032946187599420904</c:v>
                </c:pt>
                <c:pt idx="2">
                  <c:v>0.03101619331891544</c:v>
                </c:pt>
                <c:pt idx="3">
                  <c:v>0.02454858442510143</c:v>
                </c:pt>
                <c:pt idx="4">
                  <c:v>0.0186955977765465</c:v>
                </c:pt>
                <c:pt idx="5">
                  <c:v>0.010894520009294178</c:v>
                </c:pt>
                <c:pt idx="6">
                  <c:v>0.010489240200897245</c:v>
                </c:pt>
                <c:pt idx="7">
                  <c:v>0.010048660387138286</c:v>
                </c:pt>
                <c:pt idx="8">
                  <c:v>0.25668756367406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4635713590372295</c:v>
                </c:pt>
                <c:pt idx="1">
                  <c:v>0.30412732189901376</c:v>
                </c:pt>
                <c:pt idx="2">
                  <c:v>0.1409374828880682</c:v>
                </c:pt>
                <c:pt idx="3">
                  <c:v>0.035775155300287784</c:v>
                </c:pt>
                <c:pt idx="4">
                  <c:v>0.03216244623050761</c:v>
                </c:pt>
                <c:pt idx="5">
                  <c:v>0.010985670088038987</c:v>
                </c:pt>
                <c:pt idx="6">
                  <c:v>0.006694948253518213</c:v>
                </c:pt>
                <c:pt idx="7">
                  <c:v>0.0054891274587944685</c:v>
                </c:pt>
                <c:pt idx="8">
                  <c:v>0.0174707119780480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793</a:t>
                    </a:r>
                  </a:p>
                </c:rich>
              </c:tx>
              <c:showLegendKey val="0"/>
              <c:showVal val="1"/>
              <c:showCatName val="0"/>
              <c:showSerName val="0"/>
              <c:showPercent val="0"/>
              <c:showBubbleSize val="0"/>
            </c:dLbl>
            <c:dLbl>
              <c:idx val="1"/>
              <c:tx>
                <c:rich>
                  <a:bodyPr/>
                  <a:lstStyle/>
                  <a:p>
                    <a:pPr>
                      <a:defRPr sz="800">
                        <a:latin typeface="Nexa Book (Body)"/>
                      </a:defRPr>
                    </a:pPr>
                    <a:r>
                      <a:t>1814</a:t>
                    </a:r>
                  </a:p>
                </c:rich>
              </c:tx>
              <c:showLegendKey val="0"/>
              <c:showVal val="1"/>
              <c:showCatName val="0"/>
              <c:showSerName val="0"/>
              <c:showPercent val="0"/>
              <c:showBubbleSize val="0"/>
            </c:dLbl>
            <c:dLbl>
              <c:idx val="2"/>
              <c:tx>
                <c:rich>
                  <a:bodyPr/>
                  <a:lstStyle/>
                  <a:p>
                    <a:pPr>
                      <a:defRPr sz="800">
                        <a:latin typeface="Nexa Book (Body)"/>
                      </a:defRPr>
                    </a:pPr>
                    <a:r>
                      <a:t>1696</a:t>
                    </a:r>
                  </a:p>
                </c:rich>
              </c:tx>
              <c:showLegendKey val="0"/>
              <c:showVal val="1"/>
              <c:showCatName val="0"/>
              <c:showSerName val="0"/>
              <c:showPercent val="0"/>
              <c:showBubbleSize val="0"/>
            </c:dLbl>
            <c:dLbl>
              <c:idx val="3"/>
              <c:tx>
                <c:rich>
                  <a:bodyPr/>
                  <a:lstStyle/>
                  <a:p>
                    <a:pPr>
                      <a:defRPr sz="800">
                        <a:latin typeface="Nexa Book (Body)"/>
                      </a:defRPr>
                    </a:pPr>
                    <a:r>
                      <a:t>28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3793.45332</c:v>
                </c:pt>
                <c:pt idx="1">
                  <c:v>1814.05202</c:v>
                </c:pt>
                <c:pt idx="2">
                  <c:v>1695.58645</c:v>
                </c:pt>
                <c:pt idx="3">
                  <c:v>283.8148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712</a:t>
                    </a:r>
                  </a:p>
                </c:rich>
              </c:tx>
              <c:showLegendKey val="0"/>
              <c:showVal val="1"/>
              <c:showCatName val="0"/>
              <c:showSerName val="0"/>
              <c:showPercent val="0"/>
              <c:showBubbleSize val="0"/>
            </c:dLbl>
            <c:dLbl>
              <c:idx val="2"/>
              <c:tx>
                <c:rich>
                  <a:bodyPr/>
                  <a:lstStyle/>
                  <a:p>
                    <a:pPr>
                      <a:defRPr sz="800">
                        <a:latin typeface="Nexa Book (Body)"/>
                      </a:defRPr>
                    </a:pPr>
                    <a:r>
                      <a:t>104</a:t>
                    </a:r>
                  </a:p>
                </c:rich>
              </c:tx>
              <c:showLegendKey val="0"/>
              <c:showVal val="1"/>
              <c:showCatName val="0"/>
              <c:showSerName val="0"/>
              <c:showPercent val="0"/>
              <c:showBubbleSize val="0"/>
            </c:dLbl>
            <c:dLbl>
              <c:idx val="3"/>
              <c:tx>
                <c:rich>
                  <a:bodyPr/>
                  <a:lstStyle/>
                  <a:p>
                    <a:pPr>
                      <a:defRPr sz="800">
                        <a:latin typeface="Nexa Book (Body)"/>
                      </a:defRPr>
                    </a:pPr>
                    <a:r>
                      <a:t>8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99.33295</c:v>
                </c:pt>
                <c:pt idx="1">
                  <c:v>711.85239</c:v>
                </c:pt>
                <c:pt idx="2">
                  <c:v>104.38323</c:v>
                </c:pt>
                <c:pt idx="3">
                  <c:v>83.09733</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16</a:t>
                    </a:r>
                  </a:p>
                </c:rich>
              </c:tx>
              <c:showLegendKey val="0"/>
              <c:showVal val="1"/>
              <c:showCatName val="0"/>
              <c:showSerName val="0"/>
              <c:showPercent val="0"/>
              <c:showBubbleSize val="0"/>
            </c:dLbl>
            <c:dLbl>
              <c:idx val="2"/>
              <c:tx>
                <c:rich>
                  <a:bodyPr/>
                  <a:lstStyle/>
                  <a:p>
                    <a:pPr>
                      <a:defRPr sz="800">
                        <a:latin typeface="Nexa Book (Body)"/>
                      </a:defRPr>
                    </a:pPr>
                    <a:r>
                      <a:t>243</a:t>
                    </a:r>
                  </a:p>
                </c:rich>
              </c:tx>
              <c:showLegendKey val="0"/>
              <c:showVal val="1"/>
              <c:showCatName val="0"/>
              <c:showSerName val="0"/>
              <c:showPercent val="0"/>
              <c:showBubbleSize val="0"/>
            </c:dLbl>
            <c:dLbl>
              <c:idx val="3"/>
              <c:tx>
                <c:rich>
                  <a:bodyPr/>
                  <a:lstStyle/>
                  <a:p>
                    <a:pPr>
                      <a:defRPr sz="800">
                        <a:latin typeface="Nexa Book (Body)"/>
                      </a:defRPr>
                    </a:pPr>
                    <a:r>
                      <a:t>5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14.07062</c:v>
                </c:pt>
                <c:pt idx="1">
                  <c:v>515.83956</c:v>
                </c:pt>
                <c:pt idx="2">
                  <c:v>243.428</c:v>
                </c:pt>
                <c:pt idx="3">
                  <c:v>54.8030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69</a:t>
                    </a:r>
                  </a:p>
                </c:rich>
              </c:tx>
              <c:showLegendKey val="0"/>
              <c:showVal val="1"/>
              <c:showCatName val="0"/>
              <c:showSerName val="0"/>
              <c:showPercent val="0"/>
              <c:showBubbleSize val="0"/>
            </c:dLbl>
            <c:dLbl>
              <c:idx val="1"/>
              <c:tx>
                <c:rich>
                  <a:bodyPr/>
                  <a:lstStyle/>
                  <a:p>
                    <a:pPr>
                      <a:defRPr sz="800">
                        <a:latin typeface="Nexa Book (Body)"/>
                      </a:defRPr>
                    </a:pPr>
                    <a:r>
                      <a:t>181</a:t>
                    </a:r>
                  </a:p>
                </c:rich>
              </c:tx>
              <c:showLegendKey val="0"/>
              <c:showVal val="1"/>
              <c:showCatName val="0"/>
              <c:showSerName val="0"/>
              <c:showPercent val="0"/>
              <c:showBubbleSize val="0"/>
            </c:dLbl>
            <c:dLbl>
              <c:idx val="2"/>
              <c:tx>
                <c:rich>
                  <a:bodyPr/>
                  <a:lstStyle/>
                  <a:p>
                    <a:pPr>
                      <a:defRPr sz="800">
                        <a:latin typeface="Nexa Book (Body)"/>
                      </a:defRPr>
                    </a:pPr>
                    <a:r>
                      <a:t>65</a:t>
                    </a:r>
                  </a:p>
                </c:rich>
              </c:tx>
              <c:showLegendKey val="0"/>
              <c:showVal val="1"/>
              <c:showCatName val="0"/>
              <c:showSerName val="0"/>
              <c:showPercent val="0"/>
              <c:showBubbleSize val="0"/>
            </c:dLbl>
            <c:dLbl>
              <c:idx val="3"/>
              <c:tx>
                <c:rich>
                  <a:bodyPr/>
                  <a:lstStyle/>
                  <a:p>
                    <a:pPr>
                      <a:defRPr sz="800">
                        <a:latin typeface="Nexa Book (Body)"/>
                      </a:defRPr>
                    </a:pPr>
                    <a:r>
                      <a:t>2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268.97886</c:v>
                </c:pt>
                <c:pt idx="1">
                  <c:v>181.46746</c:v>
                </c:pt>
                <c:pt idx="2">
                  <c:v>64.76706</c:v>
                </c:pt>
                <c:pt idx="3">
                  <c:v>22.74434</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260</a:t>
                    </a:r>
                  </a:p>
                </c:rich>
              </c:tx>
              <c:showLegendKey val="0"/>
              <c:showVal val="1"/>
              <c:showCatName val="0"/>
              <c:showSerName val="0"/>
              <c:showPercent val="0"/>
              <c:showBubbleSize val="0"/>
            </c:dLbl>
            <c:dLbl>
              <c:idx val="2"/>
              <c:tx>
                <c:rich>
                  <a:bodyPr/>
                  <a:lstStyle/>
                  <a:p>
                    <a:pPr>
                      <a:defRPr sz="800">
                        <a:latin typeface="Nexa Book (Body)"/>
                      </a:defRPr>
                    </a:pPr>
                    <a:r>
                      <a:t>4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302.56399</c:v>
                </c:pt>
                <c:pt idx="1">
                  <c:v>260.03408</c:v>
                </c:pt>
                <c:pt idx="2">
                  <c:v>42.5299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6</a:t>
                    </a:r>
                  </a:p>
                </c:rich>
              </c:tx>
              <c:showLegendKey val="0"/>
              <c:showVal val="1"/>
              <c:showCatName val="0"/>
              <c:showSerName val="0"/>
              <c:showPercent val="0"/>
              <c:showBubbleSize val="0"/>
            </c:dLbl>
            <c:dLbl>
              <c:idx val="1"/>
              <c:tx>
                <c:rich>
                  <a:bodyPr/>
                  <a:lstStyle/>
                  <a:p>
                    <a:pPr>
                      <a:defRPr sz="800">
                        <a:latin typeface="Nexa Book (Body)"/>
                      </a:defRPr>
                    </a:pPr>
                    <a:r>
                      <a:t>112</a:t>
                    </a:r>
                  </a:p>
                </c:rich>
              </c:tx>
              <c:showLegendKey val="0"/>
              <c:showVal val="1"/>
              <c:showCatName val="0"/>
              <c:showSerName val="0"/>
              <c:showPercent val="0"/>
              <c:showBubbleSize val="0"/>
            </c:dLbl>
            <c:dLbl>
              <c:idx val="2"/>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115.67069</c:v>
                </c:pt>
                <c:pt idx="1">
                  <c:v>111.70055</c:v>
                </c:pt>
                <c:pt idx="2">
                  <c:v>3.97014</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6856</a:t>
                    </a:r>
                  </a:p>
                </c:rich>
              </c:tx>
              <c:showLegendKey val="0"/>
              <c:showVal val="1"/>
              <c:showCatName val="0"/>
              <c:showSerName val="0"/>
              <c:showPercent val="0"/>
              <c:showBubbleSize val="0"/>
            </c:dLbl>
            <c:dLbl>
              <c:idx val="2"/>
              <c:tx>
                <c:rich>
                  <a:bodyPr/>
                  <a:lstStyle/>
                  <a:p>
                    <a:pPr>
                      <a:defRPr sz="800">
                        <a:latin typeface="Nexa Book (Body)"/>
                      </a:defRPr>
                    </a:pPr>
                    <a:r>
                      <a:t>4515</a:t>
                    </a:r>
                  </a:p>
                </c:rich>
              </c:tx>
              <c:showLegendKey val="0"/>
              <c:showVal val="1"/>
              <c:showCatName val="0"/>
              <c:showSerName val="0"/>
              <c:showPercent val="0"/>
              <c:showBubbleSize val="0"/>
            </c:dLbl>
            <c:dLbl>
              <c:idx val="3"/>
              <c:tx>
                <c:rich>
                  <a:bodyPr/>
                  <a:lstStyle/>
                  <a:p>
                    <a:pPr>
                      <a:defRPr sz="800">
                        <a:latin typeface="Nexa Book (Body)"/>
                      </a:defRPr>
                    </a:pPr>
                    <a:r>
                      <a:t>78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12157.80027</c:v>
                </c:pt>
                <c:pt idx="1">
                  <c:v>6855.72635</c:v>
                </c:pt>
                <c:pt idx="2">
                  <c:v>4514.90479</c:v>
                </c:pt>
                <c:pt idx="3">
                  <c:v>787.1691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66</a:t>
                    </a:r>
                  </a:p>
                </c:rich>
              </c:tx>
              <c:showLegendKey val="0"/>
              <c:showVal val="1"/>
              <c:showCatName val="0"/>
              <c:showSerName val="0"/>
              <c:showPercent val="0"/>
              <c:showBubbleSize val="0"/>
            </c:dLbl>
            <c:dLbl>
              <c:idx val="1"/>
              <c:tx>
                <c:rich>
                  <a:bodyPr/>
                  <a:lstStyle/>
                  <a:p>
                    <a:pPr>
                      <a:defRPr sz="800">
                        <a:latin typeface="Nexa Book (Body)"/>
                      </a:defRPr>
                    </a:pPr>
                    <a:r>
                      <a:t>645</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r>
                      <a:t>2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665.74255</c:v>
                </c:pt>
                <c:pt idx="1">
                  <c:v>645.1587</c:v>
                </c:pt>
                <c:pt idx="2">
                  <c:v>0.0</c:v>
                </c:pt>
                <c:pt idx="3">
                  <c:v>20.58385</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8428465863314</c:v>
                </c:pt>
                <c:pt idx="1">
                  <c:v>0.43087751664103163</c:v>
                </c:pt>
                <c:pt idx="2">
                  <c:v>0.06427937933430072</c:v>
                </c:pt>
                <c:pt idx="3">
                  <c:v>0.0064146381613536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975</a:t>
                    </a:r>
                  </a:p>
                </c:rich>
              </c:tx>
              <c:showLegendKey val="0"/>
              <c:showVal val="1"/>
              <c:showCatName val="0"/>
              <c:showSerName val="0"/>
              <c:showPercent val="0"/>
              <c:showBubbleSize val="0"/>
            </c:dLbl>
            <c:dLbl>
              <c:idx val="2"/>
              <c:tx>
                <c:rich>
                  <a:bodyPr/>
                  <a:lstStyle/>
                  <a:p>
                    <a:pPr>
                      <a:defRPr sz="800">
                        <a:latin typeface="Nexa Book (Body)"/>
                      </a:defRPr>
                    </a:pPr>
                    <a:r>
                      <a:t>22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1201.51489</c:v>
                </c:pt>
                <c:pt idx="1">
                  <c:v>974.55356</c:v>
                </c:pt>
                <c:pt idx="2">
                  <c:v>226.9613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47</a:t>
                    </a:r>
                  </a:p>
                </c:rich>
              </c:tx>
              <c:showLegendKey val="0"/>
              <c:showVal val="1"/>
              <c:showCatName val="0"/>
              <c:showSerName val="0"/>
              <c:showPercent val="0"/>
              <c:showBubbleSize val="0"/>
            </c:dLbl>
            <c:dLbl>
              <c:idx val="1"/>
              <c:tx>
                <c:rich>
                  <a:bodyPr/>
                  <a:lstStyle/>
                  <a:p>
                    <a:pPr>
                      <a:defRPr sz="800">
                        <a:latin typeface="Nexa Book (Body)"/>
                      </a:defRPr>
                    </a:pPr>
                    <a:r>
                      <a:t>146</a:t>
                    </a:r>
                  </a:p>
                </c:rich>
              </c:tx>
              <c:showLegendKey val="0"/>
              <c:showVal val="1"/>
              <c:showCatName val="0"/>
              <c:showSerName val="0"/>
              <c:showPercent val="0"/>
              <c:showBubbleSize val="0"/>
            </c:dLbl>
            <c:dLbl>
              <c:idx val="2"/>
              <c:tx>
                <c:rich>
                  <a:bodyPr/>
                  <a:lstStyle/>
                  <a:p>
                    <a:pPr>
                      <a:defRPr sz="800">
                        <a:latin typeface="Nexa Book (Body)"/>
                      </a:defRPr>
                    </a:pPr>
                    <a:r>
                      <a:t>2</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147.41797</c:v>
                </c:pt>
                <c:pt idx="1">
                  <c:v>145.70871</c:v>
                </c:pt>
                <c:pt idx="2">
                  <c:v>1.7092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57564106446768015</c:v>
                </c:pt>
                <c:pt idx="1">
                  <c:v>-0.056393654884794475</c:v>
                </c:pt>
                <c:pt idx="2">
                  <c:v>0.04584267775751771</c:v>
                </c:pt>
                <c:pt idx="3">
                  <c:v>0.00479456648259999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16</a:t>
                    </a:r>
                  </a:p>
                </c:rich>
              </c:tx>
              <c:showLegendKey val="0"/>
              <c:showVal val="1"/>
              <c:showCatName val="0"/>
              <c:showSerName val="0"/>
              <c:showPercent val="0"/>
              <c:showBubbleSize val="0"/>
            </c:dLbl>
            <c:dLbl>
              <c:idx val="2"/>
              <c:tx>
                <c:rich>
                  <a:bodyPr/>
                  <a:lstStyle/>
                  <a:p>
                    <a:pPr>
                      <a:defRPr sz="800">
                        <a:latin typeface="Nexa Book (Body)"/>
                      </a:defRPr>
                    </a:pPr>
                    <a:r>
                      <a:t>243</a:t>
                    </a:r>
                  </a:p>
                </c:rich>
              </c:tx>
              <c:showLegendKey val="0"/>
              <c:showVal val="1"/>
              <c:showCatName val="0"/>
              <c:showSerName val="0"/>
              <c:showPercent val="0"/>
              <c:showBubbleSize val="0"/>
            </c:dLbl>
            <c:dLbl>
              <c:idx val="3"/>
              <c:tx>
                <c:rich>
                  <a:bodyPr/>
                  <a:lstStyle/>
                  <a:p>
                    <a:pPr>
                      <a:defRPr sz="800">
                        <a:latin typeface="Nexa Book (Body)"/>
                      </a:defRPr>
                    </a:pPr>
                    <a:r>
                      <a:t>5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14.07062</c:v>
                </c:pt>
                <c:pt idx="1">
                  <c:v>515.83956</c:v>
                </c:pt>
                <c:pt idx="2">
                  <c:v>243.428</c:v>
                </c:pt>
                <c:pt idx="3">
                  <c:v>54.8030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75</a:t>
                    </a:r>
                  </a:p>
                </c:rich>
              </c:tx>
              <c:showLegendKey val="0"/>
              <c:showVal val="1"/>
              <c:showCatName val="0"/>
              <c:showSerName val="0"/>
              <c:showPercent val="0"/>
              <c:showBubbleSize val="0"/>
            </c:dLbl>
            <c:dLbl>
              <c:idx val="2"/>
              <c:tx>
                <c:rich>
                  <a:bodyPr/>
                  <a:lstStyle/>
                  <a:p>
                    <a:pPr>
                      <a:defRPr sz="800">
                        <a:latin typeface="Nexa Book (Body)"/>
                      </a:defRPr>
                    </a:pPr>
                    <a:r>
                      <a:t>5</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0.20859</c:v>
                </c:pt>
                <c:pt idx="1">
                  <c:v>74.89918</c:v>
                </c:pt>
                <c:pt idx="2">
                  <c:v>5.30941</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16</a:t>
                    </a:r>
                  </a:p>
                </c:rich>
              </c:tx>
              <c:showLegendKey val="0"/>
              <c:showVal val="1"/>
              <c:showCatName val="0"/>
              <c:showSerName val="0"/>
              <c:showPercent val="0"/>
              <c:showBubbleSize val="0"/>
            </c:dLbl>
            <c:dLbl>
              <c:idx val="2"/>
              <c:tx>
                <c:rich>
                  <a:bodyPr/>
                  <a:lstStyle/>
                  <a:p>
                    <a:pPr>
                      <a:defRPr sz="800">
                        <a:latin typeface="Nexa Book (Body)"/>
                      </a:defRPr>
                    </a:pPr>
                    <a:r>
                      <a:t>243</a:t>
                    </a:r>
                  </a:p>
                </c:rich>
              </c:tx>
              <c:showLegendKey val="0"/>
              <c:showVal val="1"/>
              <c:showCatName val="0"/>
              <c:showSerName val="0"/>
              <c:showPercent val="0"/>
              <c:showBubbleSize val="0"/>
            </c:dLbl>
            <c:dLbl>
              <c:idx val="3"/>
              <c:tx>
                <c:rich>
                  <a:bodyPr/>
                  <a:lstStyle/>
                  <a:p>
                    <a:pPr>
                      <a:defRPr sz="800">
                        <a:latin typeface="Nexa Book (Body)"/>
                      </a:defRPr>
                    </a:pPr>
                    <a:r>
                      <a:t>5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14.07062</c:v>
                </c:pt>
                <c:pt idx="1">
                  <c:v>515.83956</c:v>
                </c:pt>
                <c:pt idx="2">
                  <c:v>243.428</c:v>
                </c:pt>
                <c:pt idx="3">
                  <c:v>54.8030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r>
                      <a:t>43</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43.7298</c:v>
                </c:pt>
                <c:pt idx="1">
                  <c:v>0.86012</c:v>
                </c:pt>
                <c:pt idx="2">
                  <c:v>42.86968</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119995997015167</c:v>
                </c:pt>
                <c:pt idx="1">
                  <c:v>0.15537469605959806</c:v>
                </c:pt>
                <c:pt idx="2">
                  <c:v>0.14683455997261727</c:v>
                </c:pt>
                <c:pt idx="3">
                  <c:v>0.12866042868196648</c:v>
                </c:pt>
                <c:pt idx="4">
                  <c:v>0.10722850589316237</c:v>
                </c:pt>
                <c:pt idx="5">
                  <c:v>0.06427937933430072</c:v>
                </c:pt>
                <c:pt idx="6">
                  <c:v>7.68689116739946e-06</c:v>
                </c:pt>
                <c:pt idx="7">
                  <c:v>0.00641478319703605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27459284689546448</c:v>
                </c:pt>
                <c:pt idx="1">
                  <c:v>-0.05218915247896577</c:v>
                </c:pt>
                <c:pt idx="2">
                  <c:v>0.02462257177655866</c:v>
                </c:pt>
                <c:pt idx="3">
                  <c:v>0.0001072960128606701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715</a:t>
                    </a:r>
                  </a:p>
                </c:rich>
              </c:tx>
              <c:showLegendKey val="0"/>
              <c:showVal val="1"/>
              <c:showCatName val="0"/>
              <c:showSerName val="0"/>
              <c:showPercent val="0"/>
              <c:showBubbleSize val="0"/>
            </c:dLbl>
            <c:dLbl>
              <c:idx val="2"/>
              <c:tx>
                <c:rich>
                  <a:bodyPr/>
                  <a:lstStyle/>
                  <a:p>
                    <a:pPr>
                      <a:defRPr sz="800">
                        <a:latin typeface="Nexa Book (Body)"/>
                      </a:defRPr>
                    </a:pPr>
                    <a:r>
                      <a:t>18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898.9509</c:v>
                </c:pt>
                <c:pt idx="1">
                  <c:v>714.51948</c:v>
                </c:pt>
                <c:pt idx="2">
                  <c:v>184.4314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8</a:t>
                    </a:r>
                  </a:p>
                </c:rich>
              </c:tx>
              <c:showLegendKey val="0"/>
              <c:showVal val="1"/>
              <c:showCatName val="0"/>
              <c:showSerName val="0"/>
              <c:showPercent val="0"/>
              <c:showBubbleSize val="0"/>
            </c:dLbl>
            <c:dLbl>
              <c:idx val="1"/>
              <c:tx>
                <c:rich>
                  <a:bodyPr/>
                  <a:lstStyle/>
                  <a:p>
                    <a:pPr>
                      <a:defRPr sz="800">
                        <a:latin typeface="Nexa Book (Body)"/>
                      </a:defRPr>
                    </a:pPr>
                    <a:r>
                      <a:t>67</a:t>
                    </a:r>
                  </a:p>
                </c:rich>
              </c:tx>
              <c:showLegendKey val="0"/>
              <c:showVal val="1"/>
              <c:showCatName val="0"/>
              <c:showSerName val="0"/>
              <c:showPercent val="0"/>
              <c:showBubbleSize val="0"/>
            </c:dLbl>
            <c:dLbl>
              <c:idx val="2"/>
              <c:tx>
                <c:rich>
                  <a:bodyPr/>
                  <a:lstStyle/>
                  <a:p>
                    <a:pPr>
                      <a:defRPr sz="800">
                        <a:latin typeface="Nexa Book (Body)"/>
                      </a:defRPr>
                    </a:pPr>
                    <a:r>
                      <a:t>1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78.28707</c:v>
                </c:pt>
                <c:pt idx="1">
                  <c:v>67.09833</c:v>
                </c:pt>
                <c:pt idx="2">
                  <c:v>11.18874</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053908972524505</c:v>
                </c:pt>
                <c:pt idx="1">
                  <c:v>0.001101699970806308</c:v>
                </c:pt>
                <c:pt idx="2">
                  <c:v>-0.025430906958267413</c:v>
                </c:pt>
                <c:pt idx="3">
                  <c:v>-0.027543709544962908</c:v>
                </c:pt>
                <c:pt idx="4">
                  <c:v>-0.0030798050356986018</c:v>
                </c:pt>
                <c:pt idx="5">
                  <c:v>0.02462257177655866</c:v>
                </c:pt>
                <c:pt idx="6">
                  <c:v>-0.0003149546271476416</c:v>
                </c:pt>
                <c:pt idx="7">
                  <c:v>0.0001060146934665265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16</a:t>
                    </a:r>
                  </a:p>
                </c:rich>
              </c:tx>
              <c:showLegendKey val="0"/>
              <c:showVal val="1"/>
              <c:showCatName val="0"/>
              <c:showSerName val="0"/>
              <c:showPercent val="0"/>
              <c:showBubbleSize val="0"/>
            </c:dLbl>
            <c:dLbl>
              <c:idx val="2"/>
              <c:tx>
                <c:rich>
                  <a:bodyPr/>
                  <a:lstStyle/>
                  <a:p>
                    <a:pPr>
                      <a:defRPr sz="800">
                        <a:latin typeface="Nexa Book (Body)"/>
                      </a:defRPr>
                    </a:pPr>
                    <a:r>
                      <a:t>243</a:t>
                    </a:r>
                  </a:p>
                </c:rich>
              </c:tx>
              <c:showLegendKey val="0"/>
              <c:showVal val="1"/>
              <c:showCatName val="0"/>
              <c:showSerName val="0"/>
              <c:showPercent val="0"/>
              <c:showBubbleSize val="0"/>
            </c:dLbl>
            <c:dLbl>
              <c:idx val="3"/>
              <c:tx>
                <c:rich>
                  <a:bodyPr/>
                  <a:lstStyle/>
                  <a:p>
                    <a:pPr>
                      <a:defRPr sz="800">
                        <a:latin typeface="Nexa Book (Body)"/>
                      </a:defRPr>
                    </a:pPr>
                    <a:r>
                      <a:t>5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14.07062</c:v>
                </c:pt>
                <c:pt idx="1">
                  <c:v>515.83956</c:v>
                </c:pt>
                <c:pt idx="2">
                  <c:v>243.428</c:v>
                </c:pt>
                <c:pt idx="3">
                  <c:v>54.8030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75</a:t>
                    </a:r>
                  </a:p>
                </c:rich>
              </c:tx>
              <c:showLegendKey val="0"/>
              <c:showVal val="1"/>
              <c:showCatName val="0"/>
              <c:showSerName val="0"/>
              <c:showPercent val="0"/>
              <c:showBubbleSize val="0"/>
            </c:dLbl>
            <c:dLbl>
              <c:idx val="2"/>
              <c:tx>
                <c:rich>
                  <a:bodyPr/>
                  <a:lstStyle/>
                  <a:p>
                    <a:pPr>
                      <a:defRPr sz="800">
                        <a:latin typeface="Nexa Book (Body)"/>
                      </a:defRPr>
                    </a:pPr>
                    <a:r>
                      <a:t>5</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0.20859</c:v>
                </c:pt>
                <c:pt idx="1">
                  <c:v>74.89918</c:v>
                </c:pt>
                <c:pt idx="2">
                  <c:v>5.30941</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243</a:t>
                    </a:r>
                  </a:p>
                </c:rich>
              </c:tx>
              <c:showLegendKey val="0"/>
              <c:showVal val="1"/>
              <c:showCatName val="0"/>
              <c:showSerName val="0"/>
              <c:showPercent val="0"/>
              <c:showBubbleSize val="0"/>
            </c:dLbl>
            <c:dLbl>
              <c:idx val="2"/>
              <c:tx>
                <c:rich>
                  <a:bodyPr/>
                  <a:lstStyle/>
                  <a:p>
                    <a:pPr>
                      <a:defRPr sz="800">
                        <a:latin typeface="Nexa Book (Body)"/>
                      </a:defRPr>
                    </a:pPr>
                    <a:r>
                      <a:t>196</a:t>
                    </a:r>
                  </a:p>
                </c:rich>
              </c:tx>
              <c:showLegendKey val="0"/>
              <c:showVal val="1"/>
              <c:showCatName val="0"/>
              <c:showSerName val="0"/>
              <c:showPercent val="0"/>
              <c:showBubbleSize val="0"/>
            </c:dLbl>
            <c:dLbl>
              <c:idx val="3"/>
              <c:tx>
                <c:rich>
                  <a:bodyPr/>
                  <a:lstStyle/>
                  <a:p>
                    <a:pPr>
                      <a:defRPr sz="800">
                        <a:latin typeface="Nexa Book (Body)"/>
                      </a:defRPr>
                    </a:pPr>
                    <a:r>
                      <a:t>36</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475.20104</c:v>
                </c:pt>
                <c:pt idx="1">
                  <c:v>243.22477</c:v>
                </c:pt>
                <c:pt idx="2">
                  <c:v>196.35869</c:v>
                </c:pt>
                <c:pt idx="3">
                  <c:v>35.6175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5</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25</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24.99695</c:v>
                </c:pt>
                <c:pt idx="1">
                  <c:v>0.0</c:v>
                </c:pt>
                <c:pt idx="2">
                  <c:v>24.99695</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90</a:t>
                    </a:r>
                  </a:p>
                </c:rich>
              </c:tx>
              <c:showLegendKey val="0"/>
              <c:showVal val="1"/>
              <c:showCatName val="0"/>
              <c:showSerName val="0"/>
              <c:showPercent val="0"/>
              <c:showBubbleSize val="0"/>
            </c:dLbl>
            <c:dLbl>
              <c:idx val="2"/>
              <c:tx>
                <c:rich>
                  <a:bodyPr/>
                  <a:lstStyle/>
                  <a:p>
                    <a:pPr>
                      <a:defRPr sz="800">
                        <a:latin typeface="Nexa Book (Body)"/>
                      </a:defRPr>
                    </a:pPr>
                    <a:r>
                      <a:t>69</a:t>
                    </a:r>
                  </a:p>
                </c:rich>
              </c:tx>
              <c:showLegendKey val="0"/>
              <c:showVal val="1"/>
              <c:showCatName val="0"/>
              <c:showSerName val="0"/>
              <c:showPercent val="0"/>
              <c:showBubbleSize val="0"/>
            </c:dLbl>
            <c:dLbl>
              <c:idx val="3"/>
              <c:tx>
                <c:rich>
                  <a:bodyPr/>
                  <a:lstStyle/>
                  <a:p>
                    <a:pPr>
                      <a:defRPr sz="800">
                        <a:latin typeface="Nexa Book (Body)"/>
                      </a:defRPr>
                    </a:pPr>
                    <a:r>
                      <a:t>1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172.27134</c:v>
                </c:pt>
                <c:pt idx="1">
                  <c:v>89.89407</c:v>
                </c:pt>
                <c:pt idx="2">
                  <c:v>68.94855</c:v>
                </c:pt>
                <c:pt idx="3">
                  <c:v>13.4287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11</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10.71286</c:v>
                </c:pt>
                <c:pt idx="1">
                  <c:v>0.0</c:v>
                </c:pt>
                <c:pt idx="2">
                  <c:v>10.71286</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90</a:t>
                    </a:r>
                  </a:p>
                </c:rich>
              </c:tx>
              <c:showLegendKey val="0"/>
              <c:showVal val="1"/>
              <c:showCatName val="0"/>
              <c:showSerName val="0"/>
              <c:showPercent val="0"/>
              <c:showBubbleSize val="0"/>
            </c:dLbl>
            <c:dLbl>
              <c:idx val="2"/>
              <c:tx>
                <c:rich>
                  <a:bodyPr/>
                  <a:lstStyle/>
                  <a:p>
                    <a:pPr>
                      <a:defRPr sz="800">
                        <a:latin typeface="Nexa Book (Body)"/>
                      </a:defRPr>
                    </a:pPr>
                    <a:r>
                      <a:t>69</a:t>
                    </a:r>
                  </a:p>
                </c:rich>
              </c:tx>
              <c:showLegendKey val="0"/>
              <c:showVal val="1"/>
              <c:showCatName val="0"/>
              <c:showSerName val="0"/>
              <c:showPercent val="0"/>
              <c:showBubbleSize val="0"/>
            </c:dLbl>
            <c:dLbl>
              <c:idx val="3"/>
              <c:tx>
                <c:rich>
                  <a:bodyPr/>
                  <a:lstStyle/>
                  <a:p>
                    <a:pPr>
                      <a:defRPr sz="800">
                        <a:latin typeface="Nexa Book (Body)"/>
                      </a:defRPr>
                    </a:pPr>
                    <a:r>
                      <a:t>1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172.27134</c:v>
                </c:pt>
                <c:pt idx="1">
                  <c:v>89.89407</c:v>
                </c:pt>
                <c:pt idx="2">
                  <c:v>68.94855</c:v>
                </c:pt>
                <c:pt idx="3">
                  <c:v>13.4287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5</a:t>
                    </a:r>
                  </a:p>
                </c:rich>
              </c:tx>
              <c:showLegendKey val="0"/>
              <c:showVal val="1"/>
              <c:showCatName val="0"/>
              <c:showSerName val="0"/>
              <c:showPercent val="0"/>
              <c:showBubbleSize val="0"/>
            </c:dLbl>
            <c:dLbl>
              <c:idx val="1"/>
              <c:tx>
                <c:rich>
                  <a:bodyPr/>
                  <a:lstStyle/>
                  <a:p>
                    <a:pPr>
                      <a:defRPr sz="800">
                        <a:latin typeface="Nexa Book (Body)"/>
                      </a:defRPr>
                    </a:pPr>
                    <a:r>
                      <a:t>2</a:t>
                    </a:r>
                  </a:p>
                </c:rich>
              </c:tx>
              <c:showLegendKey val="0"/>
              <c:showVal val="1"/>
              <c:showCatName val="0"/>
              <c:showSerName val="0"/>
              <c:showPercent val="0"/>
              <c:showBubbleSize val="0"/>
            </c:dLbl>
            <c:dLbl>
              <c:idx val="2"/>
              <c:tx>
                <c:rich>
                  <a:bodyPr/>
                  <a:lstStyle/>
                  <a:p>
                    <a:pPr>
                      <a:defRPr sz="800">
                        <a:latin typeface="Nexa Book (Body)"/>
                      </a:defRPr>
                    </a:pPr>
                    <a:r>
                      <a:t>9</a:t>
                    </a:r>
                  </a:p>
                </c:rich>
              </c:tx>
              <c:showLegendKey val="0"/>
              <c:showVal val="1"/>
              <c:showCatName val="0"/>
              <c:showSerName val="0"/>
              <c:showPercent val="0"/>
              <c:showBubbleSize val="0"/>
            </c:dLbl>
            <c:dLbl>
              <c:idx val="3"/>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14.9137</c:v>
                </c:pt>
                <c:pt idx="1">
                  <c:v>1.6641</c:v>
                </c:pt>
                <c:pt idx="2">
                  <c:v>8.87095</c:v>
                </c:pt>
                <c:pt idx="3">
                  <c:v>4.37865</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549</a:t>
                    </a:r>
                  </a:p>
                </c:rich>
              </c:tx>
              <c:showLegendKey val="0"/>
              <c:showVal val="1"/>
              <c:showCatName val="0"/>
              <c:showSerName val="0"/>
              <c:showPercent val="0"/>
              <c:showBubbleSize val="0"/>
            </c:dLbl>
            <c:dLbl>
              <c:idx val="2"/>
              <c:tx>
                <c:rich>
                  <a:bodyPr/>
                  <a:lstStyle/>
                  <a:p>
                    <a:pPr>
                      <a:defRPr sz="800">
                        <a:latin typeface="Nexa Book (Body)"/>
                      </a:defRPr>
                    </a:pPr>
                    <a:r>
                      <a:t>1362</a:t>
                    </a:r>
                  </a:p>
                </c:rich>
              </c:tx>
              <c:showLegendKey val="0"/>
              <c:showVal val="1"/>
              <c:showCatName val="0"/>
              <c:showSerName val="0"/>
              <c:showPercent val="0"/>
              <c:showBubbleSize val="0"/>
            </c:dLbl>
            <c:dLbl>
              <c:idx val="3"/>
              <c:tx>
                <c:rich>
                  <a:bodyPr/>
                  <a:lstStyle/>
                  <a:p>
                    <a:pPr>
                      <a:defRPr sz="800">
                        <a:latin typeface="Nexa Book (Body)"/>
                      </a:defRPr>
                    </a:pPr>
                    <a:r>
                      <a:t>23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3145.98094</c:v>
                </c:pt>
                <c:pt idx="1">
                  <c:v>1548.74478</c:v>
                </c:pt>
                <c:pt idx="2">
                  <c:v>1362.46761</c:v>
                </c:pt>
                <c:pt idx="3">
                  <c:v>234.768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44</a:t>
                    </a:r>
                  </a:p>
                </c:rich>
              </c:tx>
              <c:showLegendKey val="0"/>
              <c:showVal val="1"/>
              <c:showCatName val="0"/>
              <c:showSerName val="0"/>
              <c:showPercent val="0"/>
              <c:showBubbleSize val="0"/>
            </c:dLbl>
            <c:dLbl>
              <c:idx val="1"/>
              <c:tx>
                <c:rich>
                  <a:bodyPr/>
                  <a:lstStyle/>
                  <a:p>
                    <a:pPr>
                      <a:defRPr sz="800">
                        <a:latin typeface="Nexa Book (Body)"/>
                      </a:defRPr>
                    </a:pPr>
                    <a:r>
                      <a:t>150</a:t>
                    </a:r>
                  </a:p>
                </c:rich>
              </c:tx>
              <c:showLegendKey val="0"/>
              <c:showVal val="1"/>
              <c:showCatName val="0"/>
              <c:showSerName val="0"/>
              <c:showPercent val="0"/>
              <c:showBubbleSize val="0"/>
            </c:dLbl>
            <c:dLbl>
              <c:idx val="2"/>
              <c:tx>
                <c:rich>
                  <a:bodyPr/>
                  <a:lstStyle/>
                  <a:p>
                    <a:pPr>
                      <a:defRPr sz="800">
                        <a:latin typeface="Nexa Book (Body)"/>
                      </a:defRPr>
                    </a:pPr>
                    <a:r>
                      <a:t>26</a:t>
                    </a:r>
                  </a:p>
                </c:rich>
              </c:tx>
              <c:showLegendKey val="0"/>
              <c:showVal val="1"/>
              <c:showCatName val="0"/>
              <c:showSerName val="0"/>
              <c:showPercent val="0"/>
              <c:showBubbleSize val="0"/>
            </c:dLbl>
            <c:dLbl>
              <c:idx val="3"/>
              <c:tx>
                <c:rich>
                  <a:bodyPr/>
                  <a:lstStyle/>
                  <a:p>
                    <a:pPr>
                      <a:defRPr sz="800">
                        <a:latin typeface="Nexa Book (Body)"/>
                      </a:defRPr>
                    </a:pPr>
                    <a:r>
                      <a:t>69</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244.49449</c:v>
                </c:pt>
                <c:pt idx="1">
                  <c:v>149.52446</c:v>
                </c:pt>
                <c:pt idx="2">
                  <c:v>26.39116</c:v>
                </c:pt>
                <c:pt idx="3">
                  <c:v>68.57887</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549</a:t>
                    </a:r>
                  </a:p>
                </c:rich>
              </c:tx>
              <c:showLegendKey val="0"/>
              <c:showVal val="1"/>
              <c:showCatName val="0"/>
              <c:showSerName val="0"/>
              <c:showPercent val="0"/>
              <c:showBubbleSize val="0"/>
            </c:dLbl>
            <c:dLbl>
              <c:idx val="2"/>
              <c:tx>
                <c:rich>
                  <a:bodyPr/>
                  <a:lstStyle/>
                  <a:p>
                    <a:pPr>
                      <a:defRPr sz="800">
                        <a:latin typeface="Nexa Book (Body)"/>
                      </a:defRPr>
                    </a:pPr>
                    <a:r>
                      <a:t>1362</a:t>
                    </a:r>
                  </a:p>
                </c:rich>
              </c:tx>
              <c:showLegendKey val="0"/>
              <c:showVal val="1"/>
              <c:showCatName val="0"/>
              <c:showSerName val="0"/>
              <c:showPercent val="0"/>
              <c:showBubbleSize val="0"/>
            </c:dLbl>
            <c:dLbl>
              <c:idx val="3"/>
              <c:tx>
                <c:rich>
                  <a:bodyPr/>
                  <a:lstStyle/>
                  <a:p>
                    <a:pPr>
                      <a:defRPr sz="800">
                        <a:latin typeface="Nexa Book (Body)"/>
                      </a:defRPr>
                    </a:pPr>
                    <a:r>
                      <a:t>23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3145.98094</c:v>
                </c:pt>
                <c:pt idx="1">
                  <c:v>1548.74478</c:v>
                </c:pt>
                <c:pt idx="2">
                  <c:v>1362.46761</c:v>
                </c:pt>
                <c:pt idx="3">
                  <c:v>234.768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44</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43.99627</c:v>
                </c:pt>
                <c:pt idx="1">
                  <c:v>0.05602</c:v>
                </c:pt>
                <c:pt idx="2">
                  <c:v>43.94025</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260</a:t>
                    </a:r>
                  </a:p>
                </c:rich>
              </c:tx>
              <c:showLegendKey val="0"/>
              <c:showVal val="1"/>
              <c:showCatName val="0"/>
              <c:showSerName val="0"/>
              <c:showPercent val="0"/>
              <c:showBubbleSize val="0"/>
            </c:dLbl>
            <c:dLbl>
              <c:idx val="2"/>
              <c:tx>
                <c:rich>
                  <a:bodyPr/>
                  <a:lstStyle/>
                  <a:p>
                    <a:pPr>
                      <a:defRPr sz="800">
                        <a:latin typeface="Nexa Book (Body)"/>
                      </a:defRPr>
                    </a:pPr>
                    <a:r>
                      <a:t>4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302.56399</c:v>
                </c:pt>
                <c:pt idx="1">
                  <c:v>260.03408</c:v>
                </c:pt>
                <c:pt idx="2">
                  <c:v>42.5299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1.16891</c:v>
                </c:pt>
                <c:pt idx="1">
                  <c:v>0.43014</c:v>
                </c:pt>
                <c:pt idx="2">
                  <c:v>0.73877</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4515</a:t>
                    </a:r>
                  </a:p>
                </c:rich>
              </c:tx>
              <c:showLegendKey val="0"/>
              <c:showVal val="1"/>
              <c:showCatName val="0"/>
              <c:showSerName val="0"/>
              <c:showPercent val="0"/>
              <c:showBubbleSize val="0"/>
            </c:dLbl>
            <c:dLbl>
              <c:idx val="2"/>
              <c:tx>
                <c:rich>
                  <a:bodyPr/>
                  <a:lstStyle/>
                  <a:p>
                    <a:pPr>
                      <a:defRPr sz="800">
                        <a:latin typeface="Nexa Book (Body)"/>
                      </a:defRPr>
                    </a:pPr>
                    <a:r>
                      <a:t>3444</a:t>
                    </a:r>
                  </a:p>
                </c:rich>
              </c:tx>
              <c:showLegendKey val="0"/>
              <c:showVal val="1"/>
              <c:showCatName val="0"/>
              <c:showSerName val="0"/>
              <c:showPercent val="0"/>
              <c:showBubbleSize val="0"/>
            </c:dLbl>
            <c:dLbl>
              <c:idx val="3"/>
              <c:tx>
                <c:rich>
                  <a:bodyPr/>
                  <a:lstStyle/>
                  <a:p>
                    <a:pPr>
                      <a:defRPr sz="800">
                        <a:latin typeface="Nexa Book (Body)"/>
                      </a:defRPr>
                    </a:pPr>
                    <a:r>
                      <a:t>3351</a:t>
                    </a:r>
                  </a:p>
                </c:rich>
              </c:tx>
              <c:showLegendKey val="0"/>
              <c:showVal val="1"/>
              <c:showCatName val="0"/>
              <c:showSerName val="0"/>
              <c:showPercent val="0"/>
              <c:showBubbleSize val="0"/>
            </c:dLbl>
            <c:dLbl>
              <c:idx val="4"/>
              <c:tx>
                <c:rich>
                  <a:bodyPr/>
                  <a:lstStyle/>
                  <a:p>
                    <a:pPr>
                      <a:defRPr sz="800">
                        <a:latin typeface="Nexa Book (Body)"/>
                      </a:defRPr>
                    </a:pPr>
                    <a:r>
                      <a:t>787</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12157.80027</c:v>
                </c:pt>
                <c:pt idx="1">
                  <c:v>4514.90479</c:v>
                </c:pt>
                <c:pt idx="2">
                  <c:v>3443.7683</c:v>
                </c:pt>
                <c:pt idx="3">
                  <c:v>3351.38552</c:v>
                </c:pt>
                <c:pt idx="4">
                  <c:v>787.16913</c:v>
                </c:pt>
                <c:pt idx="5">
                  <c:v>60.5725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730</a:t>
                    </a:r>
                  </a:p>
                </c:rich>
              </c:tx>
              <c:showLegendKey val="0"/>
              <c:showVal val="1"/>
              <c:showCatName val="0"/>
              <c:showSerName val="0"/>
              <c:showPercent val="0"/>
              <c:showBubbleSize val="0"/>
            </c:dLbl>
            <c:dLbl>
              <c:idx val="1"/>
              <c:tx>
                <c:rich>
                  <a:bodyPr/>
                  <a:lstStyle/>
                  <a:p>
                    <a:pPr>
                      <a:defRPr sz="800">
                        <a:latin typeface="Nexa Book (Body)"/>
                      </a:defRPr>
                    </a:pPr>
                    <a:r>
                      <a:t>400</a:t>
                    </a:r>
                  </a:p>
                </c:rich>
              </c:tx>
              <c:showLegendKey val="0"/>
              <c:showVal val="1"/>
              <c:showCatName val="0"/>
              <c:showSerName val="0"/>
              <c:showPercent val="0"/>
              <c:showBubbleSize val="0"/>
            </c:dLbl>
            <c:dLbl>
              <c:idx val="2"/>
              <c:tx>
                <c:rich>
                  <a:bodyPr/>
                  <a:lstStyle/>
                  <a:p>
                    <a:pPr>
                      <a:defRPr sz="800">
                        <a:latin typeface="Nexa Book (Body)"/>
                      </a:defRPr>
                    </a:pPr>
                    <a:r>
                      <a:t>1025</a:t>
                    </a:r>
                  </a:p>
                </c:rich>
              </c:tx>
              <c:showLegendKey val="0"/>
              <c:showVal val="1"/>
              <c:showCatName val="0"/>
              <c:showSerName val="0"/>
              <c:showPercent val="0"/>
              <c:showBubbleSize val="0"/>
            </c:dLbl>
            <c:dLbl>
              <c:idx val="3"/>
              <c:tx>
                <c:rich>
                  <a:bodyPr/>
                  <a:lstStyle/>
                  <a:p>
                    <a:pPr>
                      <a:defRPr sz="800">
                        <a:latin typeface="Nexa Book (Body)"/>
                      </a:defRPr>
                    </a:pPr>
                    <a:r>
                      <a:t>1052</a:t>
                    </a:r>
                  </a:p>
                </c:rich>
              </c:tx>
              <c:showLegendKey val="0"/>
              <c:showVal val="1"/>
              <c:showCatName val="0"/>
              <c:showSerName val="0"/>
              <c:showPercent val="0"/>
              <c:showBubbleSize val="0"/>
            </c:dLbl>
            <c:dLbl>
              <c:idx val="4"/>
              <c:tx>
                <c:rich>
                  <a:bodyPr/>
                  <a:lstStyle/>
                  <a:p>
                    <a:pPr>
                      <a:defRPr sz="800">
                        <a:latin typeface="Nexa Book (Body)"/>
                      </a:defRPr>
                    </a:pPr>
                    <a:r>
                      <a:t>250</a:t>
                    </a:r>
                  </a:p>
                </c:rich>
              </c:tx>
              <c:showLegendKey val="0"/>
              <c:showVal val="1"/>
              <c:showCatName val="0"/>
              <c:showSerName val="0"/>
              <c:showPercent val="0"/>
              <c:showBubbleSize val="0"/>
            </c:dLbl>
            <c:dLbl>
              <c:idx val="5"/>
              <c:tx>
                <c:rich>
                  <a:bodyPr/>
                  <a:lstStyle/>
                  <a:p>
                    <a:pPr>
                      <a:defRPr sz="800">
                        <a:latin typeface="Nexa Book (Body)"/>
                      </a:defRPr>
                    </a:pPr>
                    <a:r>
                      <a:t>2</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2729.589</c:v>
                </c:pt>
                <c:pt idx="1">
                  <c:v>400.20725</c:v>
                </c:pt>
                <c:pt idx="2">
                  <c:v>1025.41385</c:v>
                </c:pt>
                <c:pt idx="3">
                  <c:v>1051.9235</c:v>
                </c:pt>
                <c:pt idx="4">
                  <c:v>250.04344</c:v>
                </c:pt>
                <c:pt idx="5">
                  <c:v>2.000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243</a:t>
                    </a:r>
                  </a:p>
                </c:rich>
              </c:tx>
              <c:showLegendKey val="0"/>
              <c:showVal val="1"/>
              <c:showCatName val="0"/>
              <c:showSerName val="0"/>
              <c:showPercent val="0"/>
              <c:showBubbleSize val="0"/>
            </c:dLbl>
            <c:dLbl>
              <c:idx val="2"/>
              <c:tx>
                <c:rich>
                  <a:bodyPr/>
                  <a:lstStyle/>
                  <a:p>
                    <a:pPr>
                      <a:defRPr sz="800">
                        <a:latin typeface="Nexa Book (Body)"/>
                      </a:defRPr>
                    </a:pPr>
                    <a:r>
                      <a:t>102</a:t>
                    </a:r>
                  </a:p>
                </c:rich>
              </c:tx>
              <c:showLegendKey val="0"/>
              <c:showVal val="1"/>
              <c:showCatName val="0"/>
              <c:showSerName val="0"/>
              <c:showPercent val="0"/>
              <c:showBubbleSize val="0"/>
            </c:dLbl>
            <c:dLbl>
              <c:idx val="3"/>
              <c:tx>
                <c:rich>
                  <a:bodyPr/>
                  <a:lstStyle/>
                  <a:p>
                    <a:pPr>
                      <a:defRPr sz="800">
                        <a:latin typeface="Nexa Book (Body)"/>
                      </a:defRPr>
                    </a:pPr>
                    <a:r>
                      <a:t>90</a:t>
                    </a:r>
                  </a:p>
                </c:rich>
              </c:tx>
              <c:showLegendKey val="0"/>
              <c:showVal val="1"/>
              <c:showCatName val="0"/>
              <c:showSerName val="0"/>
              <c:showPercent val="0"/>
              <c:showBubbleSize val="0"/>
            </c:dLbl>
            <c:dLbl>
              <c:idx val="4"/>
              <c:tx>
                <c:rich>
                  <a:bodyPr/>
                  <a:lstStyle/>
                  <a:p>
                    <a:pPr>
                      <a:defRPr sz="800">
                        <a:latin typeface="Nexa Book (Body)"/>
                      </a:defRPr>
                    </a:pPr>
                    <a:r>
                      <a:t>36</a:t>
                    </a:r>
                  </a:p>
                </c:rich>
              </c:tx>
              <c:showLegendKey val="0"/>
              <c:showVal val="1"/>
              <c:showCatName val="0"/>
              <c:showSerName val="0"/>
              <c:showPercent val="0"/>
              <c:showBubbleSize val="0"/>
            </c:dLbl>
            <c:dLbl>
              <c:idx val="5"/>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475.20104</c:v>
                </c:pt>
                <c:pt idx="1">
                  <c:v>243.22477</c:v>
                </c:pt>
                <c:pt idx="2">
                  <c:v>102.08114</c:v>
                </c:pt>
                <c:pt idx="3">
                  <c:v>90.38227</c:v>
                </c:pt>
                <c:pt idx="4">
                  <c:v>35.61758</c:v>
                </c:pt>
                <c:pt idx="5">
                  <c:v>3.8952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02</a:t>
                    </a:r>
                  </a:p>
                </c:rich>
              </c:tx>
              <c:showLegendKey val="0"/>
              <c:showVal val="1"/>
              <c:showCatName val="0"/>
              <c:showSerName val="0"/>
              <c:showPercent val="0"/>
              <c:showBubbleSize val="0"/>
            </c:dLbl>
            <c:dLbl>
              <c:idx val="1"/>
              <c:tx>
                <c:rich>
                  <a:bodyPr/>
                  <a:lstStyle/>
                  <a:p>
                    <a:pPr>
                      <a:defRPr sz="800">
                        <a:latin typeface="Nexa Book (Body)"/>
                      </a:defRPr>
                    </a:pPr>
                    <a:r>
                      <a:t>14</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37</a:t>
                    </a:r>
                  </a:p>
                </c:rich>
              </c:tx>
              <c:showLegendKey val="0"/>
              <c:showVal val="1"/>
              <c:showCatName val="0"/>
              <c:showSerName val="0"/>
              <c:showPercent val="0"/>
              <c:showBubbleSize val="0"/>
            </c:dLbl>
            <c:dLbl>
              <c:idx val="4"/>
              <c:tx>
                <c:rich>
                  <a:bodyPr/>
                  <a:lstStyle/>
                  <a:p>
                    <a:pPr>
                      <a:defRPr sz="800">
                        <a:latin typeface="Nexa Book (Body)"/>
                      </a:defRPr>
                    </a:pPr>
                    <a:r>
                      <a:t>10</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102.04424</c:v>
                </c:pt>
                <c:pt idx="1">
                  <c:v>13.91606</c:v>
                </c:pt>
                <c:pt idx="2">
                  <c:v>40.76513</c:v>
                </c:pt>
                <c:pt idx="3">
                  <c:v>37.02075</c:v>
                </c:pt>
                <c:pt idx="4">
                  <c:v>10.13981</c:v>
                </c:pt>
                <c:pt idx="5">
                  <c:v>0.20249</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4515</a:t>
                    </a:r>
                  </a:p>
                </c:rich>
              </c:tx>
              <c:showLegendKey val="0"/>
              <c:showVal val="1"/>
              <c:showCatName val="0"/>
              <c:showSerName val="0"/>
              <c:showPercent val="0"/>
              <c:showBubbleSize val="0"/>
            </c:dLbl>
            <c:dLbl>
              <c:idx val="2"/>
              <c:tx>
                <c:rich>
                  <a:bodyPr/>
                  <a:lstStyle/>
                  <a:p>
                    <a:pPr>
                      <a:defRPr sz="800">
                        <a:latin typeface="Nexa Book (Body)"/>
                      </a:defRPr>
                    </a:pPr>
                    <a:r>
                      <a:t>3444</a:t>
                    </a:r>
                  </a:p>
                </c:rich>
              </c:tx>
              <c:showLegendKey val="0"/>
              <c:showVal val="1"/>
              <c:showCatName val="0"/>
              <c:showSerName val="0"/>
              <c:showPercent val="0"/>
              <c:showBubbleSize val="0"/>
            </c:dLbl>
            <c:dLbl>
              <c:idx val="3"/>
              <c:tx>
                <c:rich>
                  <a:bodyPr/>
                  <a:lstStyle/>
                  <a:p>
                    <a:pPr>
                      <a:defRPr sz="800">
                        <a:latin typeface="Nexa Book (Body)"/>
                      </a:defRPr>
                    </a:pPr>
                    <a:r>
                      <a:t>3351</a:t>
                    </a:r>
                  </a:p>
                </c:rich>
              </c:tx>
              <c:showLegendKey val="0"/>
              <c:showVal val="1"/>
              <c:showCatName val="0"/>
              <c:showSerName val="0"/>
              <c:showPercent val="0"/>
              <c:showBubbleSize val="0"/>
            </c:dLbl>
            <c:dLbl>
              <c:idx val="4"/>
              <c:tx>
                <c:rich>
                  <a:bodyPr/>
                  <a:lstStyle/>
                  <a:p>
                    <a:pPr>
                      <a:defRPr sz="800">
                        <a:latin typeface="Nexa Book (Body)"/>
                      </a:defRPr>
                    </a:pPr>
                    <a:r>
                      <a:t>787</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12157.80027</c:v>
                </c:pt>
                <c:pt idx="1">
                  <c:v>4514.90479</c:v>
                </c:pt>
                <c:pt idx="2">
                  <c:v>3443.7683</c:v>
                </c:pt>
                <c:pt idx="3">
                  <c:v>3351.38552</c:v>
                </c:pt>
                <c:pt idx="4">
                  <c:v>787.16913</c:v>
                </c:pt>
                <c:pt idx="5">
                  <c:v>60.5725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66</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289</a:t>
                    </a:r>
                  </a:p>
                </c:rich>
              </c:tx>
              <c:showLegendKey val="0"/>
              <c:showVal val="1"/>
              <c:showCatName val="0"/>
              <c:showSerName val="0"/>
              <c:showPercent val="0"/>
              <c:showBubbleSize val="0"/>
            </c:dLbl>
            <c:dLbl>
              <c:idx val="3"/>
              <c:tx>
                <c:rich>
                  <a:bodyPr/>
                  <a:lstStyle/>
                  <a:p>
                    <a:pPr>
                      <a:defRPr sz="800">
                        <a:latin typeface="Nexa Book (Body)"/>
                      </a:defRPr>
                    </a:pPr>
                    <a:r>
                      <a:t>356</a:t>
                    </a:r>
                  </a:p>
                </c:rich>
              </c:tx>
              <c:showLegendKey val="0"/>
              <c:showVal val="1"/>
              <c:showCatName val="0"/>
              <c:showSerName val="0"/>
              <c:showPercent val="0"/>
              <c:showBubbleSize val="0"/>
            </c:dLbl>
            <c:dLbl>
              <c:idx val="4"/>
              <c:tx>
                <c:rich>
                  <a:bodyPr/>
                  <a:lstStyle/>
                  <a:p>
                    <a:pPr>
                      <a:defRPr sz="800">
                        <a:latin typeface="Nexa Book (Body)"/>
                      </a:defRPr>
                    </a:pPr>
                    <a:r>
                      <a:t>21</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665.74255</c:v>
                </c:pt>
                <c:pt idx="1">
                  <c:v>0.0</c:v>
                </c:pt>
                <c:pt idx="2">
                  <c:v>289.49769</c:v>
                </c:pt>
                <c:pt idx="3">
                  <c:v>355.66101</c:v>
                </c:pt>
                <c:pt idx="4">
                  <c:v>20.58385</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4515</a:t>
                    </a:r>
                  </a:p>
                </c:rich>
              </c:tx>
              <c:showLegendKey val="0"/>
              <c:showVal val="1"/>
              <c:showCatName val="0"/>
              <c:showSerName val="0"/>
              <c:showPercent val="0"/>
              <c:showBubbleSize val="0"/>
            </c:dLbl>
            <c:dLbl>
              <c:idx val="2"/>
              <c:tx>
                <c:rich>
                  <a:bodyPr/>
                  <a:lstStyle/>
                  <a:p>
                    <a:pPr>
                      <a:defRPr sz="800">
                        <a:latin typeface="Nexa Book (Body)"/>
                      </a:defRPr>
                    </a:pPr>
                    <a:r>
                      <a:t>3444</a:t>
                    </a:r>
                  </a:p>
                </c:rich>
              </c:tx>
              <c:showLegendKey val="0"/>
              <c:showVal val="1"/>
              <c:showCatName val="0"/>
              <c:showSerName val="0"/>
              <c:showPercent val="0"/>
              <c:showBubbleSize val="0"/>
            </c:dLbl>
            <c:dLbl>
              <c:idx val="3"/>
              <c:tx>
                <c:rich>
                  <a:bodyPr/>
                  <a:lstStyle/>
                  <a:p>
                    <a:pPr>
                      <a:defRPr sz="800">
                        <a:latin typeface="Nexa Book (Body)"/>
                      </a:defRPr>
                    </a:pPr>
                    <a:r>
                      <a:t>3351</a:t>
                    </a:r>
                  </a:p>
                </c:rich>
              </c:tx>
              <c:showLegendKey val="0"/>
              <c:showVal val="1"/>
              <c:showCatName val="0"/>
              <c:showSerName val="0"/>
              <c:showPercent val="0"/>
              <c:showBubbleSize val="0"/>
            </c:dLbl>
            <c:dLbl>
              <c:idx val="4"/>
              <c:tx>
                <c:rich>
                  <a:bodyPr/>
                  <a:lstStyle/>
                  <a:p>
                    <a:pPr>
                      <a:defRPr sz="800">
                        <a:latin typeface="Nexa Book (Body)"/>
                      </a:defRPr>
                    </a:pPr>
                    <a:r>
                      <a:t>787</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12157.80027</c:v>
                </c:pt>
                <c:pt idx="1">
                  <c:v>4514.90479</c:v>
                </c:pt>
                <c:pt idx="2">
                  <c:v>3443.7683</c:v>
                </c:pt>
                <c:pt idx="3">
                  <c:v>3351.38552</c:v>
                </c:pt>
                <c:pt idx="4">
                  <c:v>787.16913</c:v>
                </c:pt>
                <c:pt idx="5">
                  <c:v>60.5725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46</a:t>
                    </a:r>
                  </a:p>
                </c:rich>
              </c:tx>
              <c:showLegendKey val="0"/>
              <c:showVal val="1"/>
              <c:showCatName val="0"/>
              <c:showSerName val="0"/>
              <c:showPercent val="0"/>
              <c:showBubbleSize val="0"/>
            </c:dLbl>
            <c:dLbl>
              <c:idx val="1"/>
              <c:tx>
                <c:rich>
                  <a:bodyPr/>
                  <a:lstStyle/>
                  <a:p>
                    <a:pPr>
                      <a:defRPr sz="800">
                        <a:latin typeface="Nexa Book (Body)"/>
                      </a:defRPr>
                    </a:pPr>
                    <a:r>
                      <a:t>123</a:t>
                    </a:r>
                  </a:p>
                </c:rich>
              </c:tx>
              <c:showLegendKey val="0"/>
              <c:showVal val="1"/>
              <c:showCatName val="0"/>
              <c:showSerName val="0"/>
              <c:showPercent val="0"/>
              <c:showBubbleSize val="0"/>
            </c:dLbl>
            <c:dLbl>
              <c:idx val="2"/>
              <c:tx>
                <c:rich>
                  <a:bodyPr/>
                  <a:lstStyle/>
                  <a:p>
                    <a:pPr>
                      <a:defRPr sz="800">
                        <a:latin typeface="Nexa Book (Body)"/>
                      </a:defRPr>
                    </a:pPr>
                    <a:r>
                      <a:t>297</a:t>
                    </a:r>
                  </a:p>
                </c:rich>
              </c:tx>
              <c:showLegendKey val="0"/>
              <c:showVal val="1"/>
              <c:showCatName val="0"/>
              <c:showSerName val="0"/>
              <c:showPercent val="0"/>
              <c:showBubbleSize val="0"/>
            </c:dLbl>
            <c:dLbl>
              <c:idx val="3"/>
              <c:tx>
                <c:rich>
                  <a:bodyPr/>
                  <a:lstStyle/>
                  <a:p>
                    <a:pPr>
                      <a:defRPr sz="800">
                        <a:latin typeface="Nexa Book (Body)"/>
                      </a:defRPr>
                    </a:pPr>
                    <a:r>
                      <a:t>197</a:t>
                    </a:r>
                  </a:p>
                </c:rich>
              </c:tx>
              <c:showLegendKey val="0"/>
              <c:showVal val="1"/>
              <c:showCatName val="0"/>
              <c:showSerName val="0"/>
              <c:showPercent val="0"/>
              <c:showBubbleSize val="0"/>
            </c:dLbl>
            <c:dLbl>
              <c:idx val="4"/>
              <c:tx>
                <c:rich>
                  <a:bodyPr/>
                  <a:lstStyle/>
                  <a:p>
                    <a:pPr>
                      <a:defRPr sz="800">
                        <a:latin typeface="Nexa Book (Body)"/>
                      </a:defRPr>
                    </a:pPr>
                    <a:r>
                      <a:t>229</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846.40725</c:v>
                </c:pt>
                <c:pt idx="1">
                  <c:v>122.60292</c:v>
                </c:pt>
                <c:pt idx="2">
                  <c:v>297.15142</c:v>
                </c:pt>
                <c:pt idx="3">
                  <c:v>197.19332</c:v>
                </c:pt>
                <c:pt idx="4">
                  <c:v>229.45959</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514</a:t>
                    </a:r>
                  </a:p>
                </c:rich>
              </c:tx>
              <c:showLegendKey val="0"/>
              <c:showVal val="1"/>
              <c:showCatName val="0"/>
              <c:showSerName val="0"/>
              <c:showPercent val="0"/>
              <c:showBubbleSize val="0"/>
            </c:dLbl>
            <c:dLbl>
              <c:idx val="2"/>
              <c:tx>
                <c:rich>
                  <a:bodyPr/>
                  <a:lstStyle/>
                  <a:p>
                    <a:pPr>
                      <a:defRPr sz="800">
                        <a:latin typeface="Nexa Book (Body)"/>
                      </a:defRPr>
                    </a:pPr>
                    <a:r>
                      <a:t>457</a:t>
                    </a:r>
                  </a:p>
                </c:rich>
              </c:tx>
              <c:showLegendKey val="0"/>
              <c:showVal val="1"/>
              <c:showCatName val="0"/>
              <c:showSerName val="0"/>
              <c:showPercent val="0"/>
              <c:showBubbleSize val="0"/>
            </c:dLbl>
            <c:dLbl>
              <c:idx val="3"/>
              <c:tx>
                <c:rich>
                  <a:bodyPr/>
                  <a:lstStyle/>
                  <a:p>
                    <a:pPr>
                      <a:defRPr sz="800">
                        <a:latin typeface="Nexa Book (Body)"/>
                      </a:defRPr>
                    </a:pPr>
                    <a:r>
                      <a:t>227</a:t>
                    </a:r>
                  </a:p>
                </c:rich>
              </c:tx>
              <c:showLegendKey val="0"/>
              <c:showVal val="1"/>
              <c:showCatName val="0"/>
              <c:showSerName val="0"/>
              <c:showPercent val="0"/>
              <c:showBubbleSize val="0"/>
            </c:dLbl>
            <c:dLbl>
              <c:idx val="4"/>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1201.51489</c:v>
                </c:pt>
                <c:pt idx="1">
                  <c:v>513.75388</c:v>
                </c:pt>
                <c:pt idx="2">
                  <c:v>456.94308</c:v>
                </c:pt>
                <c:pt idx="3">
                  <c:v>226.96133</c:v>
                </c:pt>
                <c:pt idx="4">
                  <c:v>3.856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4</a:t>
                    </a:r>
                  </a:p>
                </c:rich>
              </c:tx>
              <c:showLegendKey val="0"/>
              <c:showVal val="1"/>
              <c:showCatName val="0"/>
              <c:showSerName val="0"/>
              <c:showPercent val="0"/>
              <c:showBubbleSize val="0"/>
            </c:dLbl>
            <c:dLbl>
              <c:idx val="1"/>
              <c:tx>
                <c:rich>
                  <a:bodyPr/>
                  <a:lstStyle/>
                  <a:p>
                    <a:pPr>
                      <a:defRPr sz="800">
                        <a:latin typeface="Nexa Book (Body)"/>
                      </a:defRPr>
                    </a:pPr>
                    <a:r>
                      <a:t>32</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11</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84.3528</c:v>
                </c:pt>
                <c:pt idx="1">
                  <c:v>31.59757</c:v>
                </c:pt>
                <c:pt idx="2">
                  <c:v>41.35261</c:v>
                </c:pt>
                <c:pt idx="3">
                  <c:v>11.40262</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514</a:t>
                    </a:r>
                  </a:p>
                </c:rich>
              </c:tx>
              <c:showLegendKey val="0"/>
              <c:showVal val="1"/>
              <c:showCatName val="0"/>
              <c:showSerName val="0"/>
              <c:showPercent val="0"/>
              <c:showBubbleSize val="0"/>
            </c:dLbl>
            <c:dLbl>
              <c:idx val="2"/>
              <c:tx>
                <c:rich>
                  <a:bodyPr/>
                  <a:lstStyle/>
                  <a:p>
                    <a:pPr>
                      <a:defRPr sz="800">
                        <a:latin typeface="Nexa Book (Body)"/>
                      </a:defRPr>
                    </a:pPr>
                    <a:r>
                      <a:t>457</a:t>
                    </a:r>
                  </a:p>
                </c:rich>
              </c:tx>
              <c:showLegendKey val="0"/>
              <c:showVal val="1"/>
              <c:showCatName val="0"/>
              <c:showSerName val="0"/>
              <c:showPercent val="0"/>
              <c:showBubbleSize val="0"/>
            </c:dLbl>
            <c:dLbl>
              <c:idx val="3"/>
              <c:tx>
                <c:rich>
                  <a:bodyPr/>
                  <a:lstStyle/>
                  <a:p>
                    <a:pPr>
                      <a:defRPr sz="800">
                        <a:latin typeface="Nexa Book (Body)"/>
                      </a:defRPr>
                    </a:pPr>
                    <a:r>
                      <a:t>227</a:t>
                    </a:r>
                  </a:p>
                </c:rich>
              </c:tx>
              <c:showLegendKey val="0"/>
              <c:showVal val="1"/>
              <c:showCatName val="0"/>
              <c:showSerName val="0"/>
              <c:showPercent val="0"/>
              <c:showBubbleSize val="0"/>
            </c:dLbl>
            <c:dLbl>
              <c:idx val="4"/>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1201.51489</c:v>
                </c:pt>
                <c:pt idx="1">
                  <c:v>513.75388</c:v>
                </c:pt>
                <c:pt idx="2">
                  <c:v>456.94308</c:v>
                </c:pt>
                <c:pt idx="3">
                  <c:v>226.96133</c:v>
                </c:pt>
                <c:pt idx="4">
                  <c:v>3.856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47</a:t>
                    </a:r>
                  </a:p>
                </c:rich>
              </c:tx>
              <c:showLegendKey val="0"/>
              <c:showVal val="1"/>
              <c:showCatName val="0"/>
              <c:showSerName val="0"/>
              <c:showPercent val="0"/>
              <c:showBubbleSize val="0"/>
            </c:dLbl>
            <c:dLbl>
              <c:idx val="1"/>
              <c:tx>
                <c:rich>
                  <a:bodyPr/>
                  <a:lstStyle/>
                  <a:p>
                    <a:pPr>
                      <a:defRPr sz="800">
                        <a:latin typeface="Nexa Book (Body)"/>
                      </a:defRPr>
                    </a:pPr>
                    <a:r>
                      <a:t>54</a:t>
                    </a:r>
                  </a:p>
                </c:rich>
              </c:tx>
              <c:showLegendKey val="0"/>
              <c:showVal val="1"/>
              <c:showCatName val="0"/>
              <c:showSerName val="0"/>
              <c:showPercent val="0"/>
              <c:showBubbleSize val="0"/>
            </c:dLbl>
            <c:dLbl>
              <c:idx val="2"/>
              <c:tx>
                <c:rich>
                  <a:bodyPr/>
                  <a:lstStyle/>
                  <a:p>
                    <a:pPr>
                      <a:defRPr sz="800">
                        <a:latin typeface="Nexa Book (Body)"/>
                      </a:defRPr>
                    </a:pPr>
                    <a:r>
                      <a:t>91</a:t>
                    </a:r>
                  </a:p>
                </c:rich>
              </c:tx>
              <c:showLegendKey val="0"/>
              <c:showVal val="1"/>
              <c:showCatName val="0"/>
              <c:showSerName val="0"/>
              <c:showPercent val="0"/>
              <c:showBubbleSize val="0"/>
            </c:dLbl>
            <c:dLbl>
              <c:idx val="3"/>
              <c:tx>
                <c:rich>
                  <a:bodyPr/>
                  <a:lstStyle/>
                  <a:p>
                    <a:pPr>
                      <a:defRPr sz="800">
                        <a:latin typeface="Nexa Book (Body)"/>
                      </a:defRPr>
                    </a:pPr>
                    <a:r>
                      <a:t>2</a:t>
                    </a:r>
                  </a:p>
                </c:rich>
              </c:tx>
              <c:showLegendKey val="0"/>
              <c:showVal val="1"/>
              <c:showCatName val="0"/>
              <c:showSerName val="0"/>
              <c:showPercent val="0"/>
              <c:showBubbleSize val="0"/>
            </c:dLbl>
            <c:dLbl>
              <c:idx val="4"/>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147.41797</c:v>
                </c:pt>
                <c:pt idx="1">
                  <c:v>54.08706</c:v>
                </c:pt>
                <c:pt idx="2">
                  <c:v>91.10067</c:v>
                </c:pt>
                <c:pt idx="3">
                  <c:v>1.70926</c:v>
                </c:pt>
                <c:pt idx="4">
                  <c:v>0.52098</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63</a:t>
                    </a:r>
                  </a:p>
                </c:rich>
              </c:tx>
              <c:showLegendKey val="0"/>
              <c:showVal val="1"/>
              <c:showCatName val="0"/>
              <c:showSerName val="0"/>
              <c:showPercent val="0"/>
              <c:showBubbleSize val="0"/>
            </c:dLbl>
            <c:dLbl>
              <c:idx val="2"/>
              <c:tx>
                <c:rich>
                  <a:bodyPr/>
                  <a:lstStyle/>
                  <a:p>
                    <a:pPr>
                      <a:defRPr sz="800">
                        <a:latin typeface="Nexa Book (Body)"/>
                      </a:defRPr>
                    </a:pPr>
                    <a:r>
                      <a:t>253</a:t>
                    </a:r>
                  </a:p>
                </c:rich>
              </c:tx>
              <c:showLegendKey val="0"/>
              <c:showVal val="1"/>
              <c:showCatName val="0"/>
              <c:showSerName val="0"/>
              <c:showPercent val="0"/>
              <c:showBubbleSize val="0"/>
            </c:dLbl>
            <c:dLbl>
              <c:idx val="3"/>
              <c:tx>
                <c:rich>
                  <a:bodyPr/>
                  <a:lstStyle/>
                  <a:p>
                    <a:pPr>
                      <a:defRPr sz="800">
                        <a:latin typeface="Nexa Book (Body)"/>
                      </a:defRPr>
                    </a:pPr>
                    <a:r>
                      <a:t>243</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Razors</c:v>
                </c:pt>
                <c:pt idx="2">
                  <c:v>Refills</c:v>
                </c:pt>
                <c:pt idx="3">
                  <c:v>Disposable</c:v>
                </c:pt>
                <c:pt idx="4">
                  <c:v>Dermaplane</c:v>
                </c:pt>
                <c:pt idx="5">
                  <c:v>Hybrid</c:v>
                </c:pt>
              </c:strCache>
            </c:strRef>
          </c:cat>
          <c:val>
            <c:numRef>
              <c:f>Sheet1!$B$2:$B$7</c:f>
              <c:numCache>
                <c:formatCode>General</c:formatCode>
                <c:ptCount val="6"/>
                <c:pt idx="0">
                  <c:v>814.07062</c:v>
                </c:pt>
                <c:pt idx="1">
                  <c:v>262.80011</c:v>
                </c:pt>
                <c:pt idx="2">
                  <c:v>253.03753</c:v>
                </c:pt>
                <c:pt idx="3">
                  <c:v>243.428</c:v>
                </c:pt>
                <c:pt idx="4">
                  <c:v>54.80306</c:v>
                </c:pt>
                <c:pt idx="5">
                  <c:v>0.0019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29</a:t>
                    </a:r>
                  </a:p>
                </c:rich>
              </c:tx>
              <c:showLegendKey val="0"/>
              <c:showVal val="1"/>
              <c:showCatName val="0"/>
              <c:showSerName val="0"/>
              <c:showPercent val="0"/>
              <c:showBubbleSize val="0"/>
            </c:dLbl>
            <c:dLbl>
              <c:idx val="2"/>
              <c:tx>
                <c:rich>
                  <a:bodyPr/>
                  <a:lstStyle/>
                  <a:p>
                    <a:pPr>
                      <a:defRPr sz="800">
                        <a:latin typeface="Nexa Book (Body)"/>
                      </a:defRPr>
                    </a:pPr>
                    <a:r>
                      <a:t>45</a:t>
                    </a:r>
                  </a:p>
                </c:rich>
              </c:tx>
              <c:showLegendKey val="0"/>
              <c:showVal val="1"/>
              <c:showCatName val="0"/>
              <c:showSerName val="0"/>
              <c:showPercent val="0"/>
              <c:showBubbleSize val="0"/>
            </c:dLbl>
            <c:dLbl>
              <c:idx val="3"/>
              <c:tx>
                <c:rich>
                  <a:bodyPr/>
                  <a:lstStyle/>
                  <a:p>
                    <a:pPr>
                      <a:defRPr sz="800">
                        <a:latin typeface="Nexa Book (Body)"/>
                      </a:defRPr>
                    </a:pPr>
                    <a:r>
                      <a:t>5</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Razors</c:v>
                </c:pt>
                <c:pt idx="2">
                  <c:v>Refills</c:v>
                </c:pt>
                <c:pt idx="3">
                  <c:v>Disposable</c:v>
                </c:pt>
                <c:pt idx="4">
                  <c:v>Dermaplane</c:v>
                </c:pt>
                <c:pt idx="5">
                  <c:v>Hybrid</c:v>
                </c:pt>
              </c:strCache>
            </c:strRef>
          </c:cat>
          <c:val>
            <c:numRef>
              <c:f>Sheet1!$B$2:$B$7</c:f>
              <c:numCache>
                <c:formatCode>General</c:formatCode>
                <c:ptCount val="6"/>
                <c:pt idx="0">
                  <c:v>80.20859</c:v>
                </c:pt>
                <c:pt idx="1">
                  <c:v>29.42422</c:v>
                </c:pt>
                <c:pt idx="2">
                  <c:v>45.47304</c:v>
                </c:pt>
                <c:pt idx="3">
                  <c:v>5.30941</c:v>
                </c:pt>
                <c:pt idx="4">
                  <c:v>0.0</c:v>
                </c:pt>
                <c:pt idx="5">
                  <c:v>0.00192</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393</a:t>
                    </a:r>
                  </a:p>
                </c:rich>
              </c:tx>
              <c:showLegendKey val="0"/>
              <c:showVal val="1"/>
              <c:showCatName val="0"/>
              <c:showSerName val="0"/>
              <c:showPercent val="0"/>
              <c:showBubbleSize val="0"/>
            </c:dLbl>
            <c:dLbl>
              <c:idx val="2"/>
              <c:tx>
                <c:rich>
                  <a:bodyPr/>
                  <a:lstStyle/>
                  <a:p>
                    <a:pPr>
                      <a:defRPr sz="800">
                        <a:latin typeface="Nexa Book (Body)"/>
                      </a:defRPr>
                    </a:pPr>
                    <a:r>
                      <a:t>319</a:t>
                    </a:r>
                  </a:p>
                </c:rich>
              </c:tx>
              <c:showLegendKey val="0"/>
              <c:showVal val="1"/>
              <c:showCatName val="0"/>
              <c:showSerName val="0"/>
              <c:showPercent val="0"/>
              <c:showBubbleSize val="0"/>
            </c:dLbl>
            <c:dLbl>
              <c:idx val="3"/>
              <c:tx>
                <c:rich>
                  <a:bodyPr/>
                  <a:lstStyle/>
                  <a:p>
                    <a:pPr>
                      <a:defRPr sz="800">
                        <a:latin typeface="Nexa Book (Body)"/>
                      </a:defRPr>
                    </a:pPr>
                    <a:r>
                      <a:t>184</a:t>
                    </a:r>
                  </a:p>
                </c:rich>
              </c:tx>
              <c:showLegendKey val="0"/>
              <c:showVal val="1"/>
              <c:showCatName val="0"/>
              <c:showSerName val="0"/>
              <c:showPercent val="0"/>
              <c:showBubbleSize val="0"/>
            </c:dLbl>
            <c:dLbl>
              <c:idx val="4"/>
              <c:tx>
                <c:rich>
                  <a:bodyPr/>
                  <a:lstStyle/>
                  <a:p>
                    <a:pPr>
                      <a:defRPr sz="800">
                        <a:latin typeface="Nexa Book (Body)"/>
                      </a:defRPr>
                    </a:pPr>
                    <a:r>
                      <a:t>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898.9509</c:v>
                </c:pt>
                <c:pt idx="1">
                  <c:v>393.38912</c:v>
                </c:pt>
                <c:pt idx="2">
                  <c:v>318.55451</c:v>
                </c:pt>
                <c:pt idx="3">
                  <c:v>184.43142</c:v>
                </c:pt>
                <c:pt idx="4">
                  <c:v>2.5758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1</a:t>
                    </a:r>
                  </a:p>
                </c:rich>
              </c:tx>
              <c:showLegendKey val="0"/>
              <c:showVal val="1"/>
              <c:showCatName val="0"/>
              <c:showSerName val="0"/>
              <c:showPercent val="0"/>
              <c:showBubbleSize val="0"/>
            </c:dLbl>
            <c:dLbl>
              <c:idx val="1"/>
              <c:tx>
                <c:rich>
                  <a:bodyPr/>
                  <a:lstStyle/>
                  <a:p>
                    <a:pPr>
                      <a:defRPr sz="800">
                        <a:latin typeface="Nexa Book (Body)"/>
                      </a:defRPr>
                    </a:pPr>
                    <a:r>
                      <a:t>37</a:t>
                    </a:r>
                  </a:p>
                </c:rich>
              </c:tx>
              <c:showLegendKey val="0"/>
              <c:showVal val="1"/>
              <c:showCatName val="0"/>
              <c:showSerName val="0"/>
              <c:showPercent val="0"/>
              <c:showBubbleSize val="0"/>
            </c:dLbl>
            <c:dLbl>
              <c:idx val="2"/>
              <c:tx>
                <c:rich>
                  <a:bodyPr/>
                  <a:lstStyle/>
                  <a:p>
                    <a:pPr>
                      <a:defRPr sz="800">
                        <a:latin typeface="Nexa Book (Body)"/>
                      </a:defRPr>
                    </a:pPr>
                    <a:r>
                      <a:t>14</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50.99235</c:v>
                </c:pt>
                <c:pt idx="1">
                  <c:v>36.66483</c:v>
                </c:pt>
                <c:pt idx="2">
                  <c:v>14.32752</c:v>
                </c:pt>
                <c:pt idx="3">
                  <c:v>0.0</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393</a:t>
                    </a:r>
                  </a:p>
                </c:rich>
              </c:tx>
              <c:showLegendKey val="0"/>
              <c:showVal val="1"/>
              <c:showCatName val="0"/>
              <c:showSerName val="0"/>
              <c:showPercent val="0"/>
              <c:showBubbleSize val="0"/>
            </c:dLbl>
            <c:dLbl>
              <c:idx val="2"/>
              <c:tx>
                <c:rich>
                  <a:bodyPr/>
                  <a:lstStyle/>
                  <a:p>
                    <a:pPr>
                      <a:defRPr sz="800">
                        <a:latin typeface="Nexa Book (Body)"/>
                      </a:defRPr>
                    </a:pPr>
                    <a:r>
                      <a:t>319</a:t>
                    </a:r>
                  </a:p>
                </c:rich>
              </c:tx>
              <c:showLegendKey val="0"/>
              <c:showVal val="1"/>
              <c:showCatName val="0"/>
              <c:showSerName val="0"/>
              <c:showPercent val="0"/>
              <c:showBubbleSize val="0"/>
            </c:dLbl>
            <c:dLbl>
              <c:idx val="3"/>
              <c:tx>
                <c:rich>
                  <a:bodyPr/>
                  <a:lstStyle/>
                  <a:p>
                    <a:pPr>
                      <a:defRPr sz="800">
                        <a:latin typeface="Nexa Book (Body)"/>
                      </a:defRPr>
                    </a:pPr>
                    <a:r>
                      <a:t>184</a:t>
                    </a:r>
                  </a:p>
                </c:rich>
              </c:tx>
              <c:showLegendKey val="0"/>
              <c:showVal val="1"/>
              <c:showCatName val="0"/>
              <c:showSerName val="0"/>
              <c:showPercent val="0"/>
              <c:showBubbleSize val="0"/>
            </c:dLbl>
            <c:dLbl>
              <c:idx val="4"/>
              <c:tx>
                <c:rich>
                  <a:bodyPr/>
                  <a:lstStyle/>
                  <a:p>
                    <a:pPr>
                      <a:defRPr sz="800">
                        <a:latin typeface="Nexa Book (Body)"/>
                      </a:defRPr>
                    </a:pPr>
                    <a:r>
                      <a:t>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898.9509</c:v>
                </c:pt>
                <c:pt idx="1">
                  <c:v>393.38912</c:v>
                </c:pt>
                <c:pt idx="2">
                  <c:v>318.55451</c:v>
                </c:pt>
                <c:pt idx="3">
                  <c:v>184.43142</c:v>
                </c:pt>
                <c:pt idx="4">
                  <c:v>2.5758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8</a:t>
                    </a:r>
                  </a:p>
                </c:rich>
              </c:tx>
              <c:showLegendKey val="0"/>
              <c:showVal val="1"/>
              <c:showCatName val="0"/>
              <c:showSerName val="0"/>
              <c:showPercent val="0"/>
              <c:showBubbleSize val="0"/>
            </c:dLbl>
            <c:dLbl>
              <c:idx val="1"/>
              <c:tx>
                <c:rich>
                  <a:bodyPr/>
                  <a:lstStyle/>
                  <a:p>
                    <a:pPr>
                      <a:defRPr sz="800">
                        <a:latin typeface="Nexa Book (Body)"/>
                      </a:defRPr>
                    </a:pPr>
                    <a:r>
                      <a:t>29</a:t>
                    </a:r>
                  </a:p>
                </c:rich>
              </c:tx>
              <c:showLegendKey val="0"/>
              <c:showVal val="1"/>
              <c:showCatName val="0"/>
              <c:showSerName val="0"/>
              <c:showPercent val="0"/>
              <c:showBubbleSize val="0"/>
            </c:dLbl>
            <c:dLbl>
              <c:idx val="2"/>
              <c:tx>
                <c:rich>
                  <a:bodyPr/>
                  <a:lstStyle/>
                  <a:p>
                    <a:pPr>
                      <a:defRPr sz="800">
                        <a:latin typeface="Nexa Book (Body)"/>
                      </a:defRPr>
                    </a:pPr>
                    <a:r>
                      <a:t>38</a:t>
                    </a:r>
                  </a:p>
                </c:rich>
              </c:tx>
              <c:showLegendKey val="0"/>
              <c:showVal val="1"/>
              <c:showCatName val="0"/>
              <c:showSerName val="0"/>
              <c:showPercent val="0"/>
              <c:showBubbleSize val="0"/>
            </c:dLbl>
            <c:dLbl>
              <c:idx val="3"/>
              <c:tx>
                <c:rich>
                  <a:bodyPr/>
                  <a:lstStyle/>
                  <a:p>
                    <a:pPr>
                      <a:defRPr sz="800">
                        <a:latin typeface="Nexa Book (Body)"/>
                      </a:defRPr>
                    </a:pPr>
                    <a:r>
                      <a:t>11</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78.28707</c:v>
                </c:pt>
                <c:pt idx="1">
                  <c:v>29.00158</c:v>
                </c:pt>
                <c:pt idx="2">
                  <c:v>38.09675</c:v>
                </c:pt>
                <c:pt idx="3">
                  <c:v>11.18874</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63</a:t>
                    </a:r>
                  </a:p>
                </c:rich>
              </c:tx>
              <c:showLegendKey val="0"/>
              <c:showVal val="1"/>
              <c:showCatName val="0"/>
              <c:showSerName val="0"/>
              <c:showPercent val="0"/>
              <c:showBubbleSize val="0"/>
            </c:dLbl>
            <c:dLbl>
              <c:idx val="2"/>
              <c:tx>
                <c:rich>
                  <a:bodyPr/>
                  <a:lstStyle/>
                  <a:p>
                    <a:pPr>
                      <a:defRPr sz="800">
                        <a:latin typeface="Nexa Book (Body)"/>
                      </a:defRPr>
                    </a:pPr>
                    <a:r>
                      <a:t>253</a:t>
                    </a:r>
                  </a:p>
                </c:rich>
              </c:tx>
              <c:showLegendKey val="0"/>
              <c:showVal val="1"/>
              <c:showCatName val="0"/>
              <c:showSerName val="0"/>
              <c:showPercent val="0"/>
              <c:showBubbleSize val="0"/>
            </c:dLbl>
            <c:dLbl>
              <c:idx val="3"/>
              <c:tx>
                <c:rich>
                  <a:bodyPr/>
                  <a:lstStyle/>
                  <a:p>
                    <a:pPr>
                      <a:defRPr sz="800">
                        <a:latin typeface="Nexa Book (Body)"/>
                      </a:defRPr>
                    </a:pPr>
                    <a:r>
                      <a:t>243</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Razors</c:v>
                </c:pt>
                <c:pt idx="2">
                  <c:v>Refills</c:v>
                </c:pt>
                <c:pt idx="3">
                  <c:v>Disposable</c:v>
                </c:pt>
                <c:pt idx="4">
                  <c:v>Dermaplane</c:v>
                </c:pt>
                <c:pt idx="5">
                  <c:v>Hybrid</c:v>
                </c:pt>
              </c:strCache>
            </c:strRef>
          </c:cat>
          <c:val>
            <c:numRef>
              <c:f>Sheet1!$B$2:$B$7</c:f>
              <c:numCache>
                <c:formatCode>General</c:formatCode>
                <c:ptCount val="6"/>
                <c:pt idx="0">
                  <c:v>814.07062</c:v>
                </c:pt>
                <c:pt idx="1">
                  <c:v>262.80011</c:v>
                </c:pt>
                <c:pt idx="2">
                  <c:v>253.03753</c:v>
                </c:pt>
                <c:pt idx="3">
                  <c:v>243.428</c:v>
                </c:pt>
                <c:pt idx="4">
                  <c:v>54.80306</c:v>
                </c:pt>
                <c:pt idx="5">
                  <c:v>0.0019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7</a:t>
                    </a:r>
                  </a:p>
                </c:rich>
              </c:tx>
              <c:showLegendKey val="0"/>
              <c:showVal val="1"/>
              <c:showCatName val="0"/>
              <c:showSerName val="0"/>
              <c:showPercent val="0"/>
              <c:showBubbleSize val="0"/>
            </c:dLbl>
            <c:dLbl>
              <c:idx val="1"/>
              <c:tx>
                <c:rich>
                  <a:bodyPr/>
                  <a:lstStyle/>
                  <a:p>
                    <a:pPr>
                      <a:defRPr sz="800">
                        <a:latin typeface="Nexa Book (Body)"/>
                      </a:defRPr>
                    </a:pPr>
                    <a:r>
                      <a:t>28</a:t>
                    </a:r>
                  </a:p>
                </c:rich>
              </c:tx>
              <c:showLegendKey val="0"/>
              <c:showVal val="1"/>
              <c:showCatName val="0"/>
              <c:showSerName val="0"/>
              <c:showPercent val="0"/>
              <c:showBubbleSize val="0"/>
            </c:dLbl>
            <c:dLbl>
              <c:idx val="2"/>
              <c:tx>
                <c:rich>
                  <a:bodyPr/>
                  <a:lstStyle/>
                  <a:p>
                    <a:pPr>
                      <a:defRPr sz="800">
                        <a:latin typeface="Nexa Book (Body)"/>
                      </a:defRPr>
                    </a:pPr>
                    <a:r>
                      <a:t>13</a:t>
                    </a:r>
                  </a:p>
                </c:rich>
              </c:tx>
              <c:showLegendKey val="0"/>
              <c:showVal val="1"/>
              <c:showCatName val="0"/>
              <c:showSerName val="0"/>
              <c:showPercent val="0"/>
              <c:showBubbleSize val="0"/>
            </c:dLbl>
            <c:dLbl>
              <c:idx val="3"/>
              <c:tx>
                <c:rich>
                  <a:bodyPr/>
                  <a:lstStyle/>
                  <a:p>
                    <a:pPr>
                      <a:defRPr sz="800">
                        <a:latin typeface="Nexa Book (Body)"/>
                      </a:defRPr>
                    </a:pPr>
                    <a:r>
                      <a:t>17</a:t>
                    </a:r>
                  </a:p>
                </c:rich>
              </c:tx>
              <c:showLegendKey val="0"/>
              <c:showVal val="1"/>
              <c:showCatName val="0"/>
              <c:showSerName val="0"/>
              <c:showPercent val="0"/>
              <c:showBubbleSize val="0"/>
            </c:dLbl>
            <c:dLbl>
              <c:idx val="4"/>
              <c:tx>
                <c:rich>
                  <a:bodyPr/>
                  <a:lstStyle/>
                  <a:p>
                    <a:pPr>
                      <a:defRPr sz="800">
                        <a:latin typeface="Nexa Book (Body)"/>
                      </a:defRPr>
                    </a:pPr>
                    <a:r>
                      <a:t>20</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Razors</c:v>
                </c:pt>
                <c:pt idx="2">
                  <c:v>Refills</c:v>
                </c:pt>
                <c:pt idx="3">
                  <c:v>Disposable</c:v>
                </c:pt>
                <c:pt idx="4">
                  <c:v>Dermaplane</c:v>
                </c:pt>
                <c:pt idx="5">
                  <c:v>Hybrid</c:v>
                </c:pt>
              </c:strCache>
            </c:strRef>
          </c:cat>
          <c:val>
            <c:numRef>
              <c:f>Sheet1!$B$2:$B$7</c:f>
              <c:numCache>
                <c:formatCode>General</c:formatCode>
                <c:ptCount val="6"/>
                <c:pt idx="0">
                  <c:v>77.32358</c:v>
                </c:pt>
                <c:pt idx="1">
                  <c:v>27.98589</c:v>
                </c:pt>
                <c:pt idx="2">
                  <c:v>13.24687</c:v>
                </c:pt>
                <c:pt idx="3">
                  <c:v>16.58769</c:v>
                </c:pt>
                <c:pt idx="4">
                  <c:v>19.50313</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243</a:t>
                    </a:r>
                  </a:p>
                </c:rich>
              </c:tx>
              <c:showLegendKey val="0"/>
              <c:showVal val="1"/>
              <c:showCatName val="0"/>
              <c:showSerName val="0"/>
              <c:showPercent val="0"/>
              <c:showBubbleSize val="0"/>
            </c:dLbl>
            <c:dLbl>
              <c:idx val="2"/>
              <c:tx>
                <c:rich>
                  <a:bodyPr/>
                  <a:lstStyle/>
                  <a:p>
                    <a:pPr>
                      <a:defRPr sz="800">
                        <a:latin typeface="Nexa Book (Body)"/>
                      </a:defRPr>
                    </a:pPr>
                    <a:r>
                      <a:t>102</a:t>
                    </a:r>
                  </a:p>
                </c:rich>
              </c:tx>
              <c:showLegendKey val="0"/>
              <c:showVal val="1"/>
              <c:showCatName val="0"/>
              <c:showSerName val="0"/>
              <c:showPercent val="0"/>
              <c:showBubbleSize val="0"/>
            </c:dLbl>
            <c:dLbl>
              <c:idx val="3"/>
              <c:tx>
                <c:rich>
                  <a:bodyPr/>
                  <a:lstStyle/>
                  <a:p>
                    <a:pPr>
                      <a:defRPr sz="800">
                        <a:latin typeface="Nexa Book (Body)"/>
                      </a:defRPr>
                    </a:pPr>
                    <a:r>
                      <a:t>90</a:t>
                    </a:r>
                  </a:p>
                </c:rich>
              </c:tx>
              <c:showLegendKey val="0"/>
              <c:showVal val="1"/>
              <c:showCatName val="0"/>
              <c:showSerName val="0"/>
              <c:showPercent val="0"/>
              <c:showBubbleSize val="0"/>
            </c:dLbl>
            <c:dLbl>
              <c:idx val="4"/>
              <c:tx>
                <c:rich>
                  <a:bodyPr/>
                  <a:lstStyle/>
                  <a:p>
                    <a:pPr>
                      <a:defRPr sz="800">
                        <a:latin typeface="Nexa Book (Body)"/>
                      </a:defRPr>
                    </a:pPr>
                    <a:r>
                      <a:t>36</a:t>
                    </a:r>
                  </a:p>
                </c:rich>
              </c:tx>
              <c:showLegendKey val="0"/>
              <c:showVal val="1"/>
              <c:showCatName val="0"/>
              <c:showSerName val="0"/>
              <c:showPercent val="0"/>
              <c:showBubbleSize val="0"/>
            </c:dLbl>
            <c:dLbl>
              <c:idx val="5"/>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475.20104</c:v>
                </c:pt>
                <c:pt idx="1">
                  <c:v>243.22477</c:v>
                </c:pt>
                <c:pt idx="2">
                  <c:v>102.08114</c:v>
                </c:pt>
                <c:pt idx="3">
                  <c:v>90.38227</c:v>
                </c:pt>
                <c:pt idx="4">
                  <c:v>35.61758</c:v>
                </c:pt>
                <c:pt idx="5">
                  <c:v>3.8952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a:t>
                    </a:r>
                  </a:p>
                </c:rich>
              </c:tx>
              <c:showLegendKey val="0"/>
              <c:showVal val="1"/>
              <c:showCatName val="0"/>
              <c:showSerName val="0"/>
              <c:showPercent val="0"/>
              <c:showBubbleSize val="0"/>
            </c:dLbl>
            <c:dLbl>
              <c:idx val="1"/>
              <c:tx>
                <c:rich>
                  <a:bodyPr/>
                  <a:lstStyle/>
                  <a:p>
                    <a:pPr>
                      <a:defRPr sz="800">
                        <a:latin typeface="Nexa Book (Body)"/>
                      </a:defRPr>
                    </a:pPr>
                    <a:r>
                      <a:t>8</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7.59098</c:v>
                </c:pt>
                <c:pt idx="1">
                  <c:v>7.55678</c:v>
                </c:pt>
                <c:pt idx="2">
                  <c:v>0.00755</c:v>
                </c:pt>
                <c:pt idx="3">
                  <c:v>0.02665</c:v>
                </c:pt>
                <c:pt idx="4">
                  <c:v>0.0</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90</a:t>
                    </a:r>
                  </a:p>
                </c:rich>
              </c:tx>
              <c:showLegendKey val="0"/>
              <c:showVal val="1"/>
              <c:showCatName val="0"/>
              <c:showSerName val="0"/>
              <c:showPercent val="0"/>
              <c:showBubbleSize val="0"/>
            </c:dLbl>
            <c:dLbl>
              <c:idx val="2"/>
              <c:tx>
                <c:rich>
                  <a:bodyPr/>
                  <a:lstStyle/>
                  <a:p>
                    <a:pPr>
                      <a:defRPr sz="800">
                        <a:latin typeface="Nexa Book (Body)"/>
                      </a:defRPr>
                    </a:pPr>
                    <a:r>
                      <a:t>37</a:t>
                    </a:r>
                  </a:p>
                </c:rich>
              </c:tx>
              <c:showLegendKey val="0"/>
              <c:showVal val="1"/>
              <c:showCatName val="0"/>
              <c:showSerName val="0"/>
              <c:showPercent val="0"/>
              <c:showBubbleSize val="0"/>
            </c:dLbl>
            <c:dLbl>
              <c:idx val="3"/>
              <c:tx>
                <c:rich>
                  <a:bodyPr/>
                  <a:lstStyle/>
                  <a:p>
                    <a:pPr>
                      <a:defRPr sz="800">
                        <a:latin typeface="Nexa Book (Body)"/>
                      </a:defRPr>
                    </a:pPr>
                    <a:r>
                      <a:t>31</a:t>
                    </a:r>
                  </a:p>
                </c:rich>
              </c:tx>
              <c:showLegendKey val="0"/>
              <c:showVal val="1"/>
              <c:showCatName val="0"/>
              <c:showSerName val="0"/>
              <c:showPercent val="0"/>
              <c:showBubbleSize val="0"/>
            </c:dLbl>
            <c:dLbl>
              <c:idx val="4"/>
              <c:tx>
                <c:rich>
                  <a:bodyPr/>
                  <a:lstStyle/>
                  <a:p>
                    <a:pPr>
                      <a:defRPr sz="800">
                        <a:latin typeface="Nexa Book (Body)"/>
                      </a:defRPr>
                    </a:pPr>
                    <a:r>
                      <a:t>13</a:t>
                    </a:r>
                  </a:p>
                </c:rich>
              </c:tx>
              <c:showLegendKey val="0"/>
              <c:showVal val="1"/>
              <c:showCatName val="0"/>
              <c:showSerName val="0"/>
              <c:showPercent val="0"/>
              <c:showBubbleSize val="0"/>
            </c:dLbl>
            <c:dLbl>
              <c:idx val="5"/>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172.27134</c:v>
                </c:pt>
                <c:pt idx="1">
                  <c:v>89.89407</c:v>
                </c:pt>
                <c:pt idx="2">
                  <c:v>37.24185</c:v>
                </c:pt>
                <c:pt idx="3">
                  <c:v>31.1619</c:v>
                </c:pt>
                <c:pt idx="4">
                  <c:v>13.42872</c:v>
                </c:pt>
                <c:pt idx="5">
                  <c:v>0.544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6</a:t>
                    </a:r>
                  </a:p>
                </c:rich>
              </c:tx>
              <c:showLegendKey val="0"/>
              <c:showVal val="1"/>
              <c:showCatName val="0"/>
              <c:showSerName val="0"/>
              <c:showPercent val="0"/>
              <c:showBubbleSize val="0"/>
            </c:dLbl>
            <c:dLbl>
              <c:idx val="3"/>
              <c:tx>
                <c:rich>
                  <a:bodyPr/>
                  <a:lstStyle/>
                  <a:p>
                    <a:pPr>
                      <a:defRPr sz="800">
                        <a:latin typeface="Nexa Book (Body)"/>
                      </a:defRPr>
                    </a:pPr>
                    <a:r>
                      <a:t>4</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10.71286</c:v>
                </c:pt>
                <c:pt idx="1">
                  <c:v>0.0</c:v>
                </c:pt>
                <c:pt idx="2">
                  <c:v>6.48495</c:v>
                </c:pt>
                <c:pt idx="3">
                  <c:v>4.22791</c:v>
                </c:pt>
                <c:pt idx="4">
                  <c:v>0.0</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62</a:t>
                    </a:r>
                  </a:p>
                </c:rich>
              </c:tx>
              <c:showLegendKey val="0"/>
              <c:showVal val="1"/>
              <c:showCatName val="0"/>
              <c:showSerName val="0"/>
              <c:showPercent val="0"/>
              <c:showBubbleSize val="0"/>
            </c:dLbl>
            <c:dLbl>
              <c:idx val="2"/>
              <c:tx>
                <c:rich>
                  <a:bodyPr/>
                  <a:lstStyle/>
                  <a:p>
                    <a:pPr>
                      <a:defRPr sz="800">
                        <a:latin typeface="Nexa Book (Body)"/>
                      </a:defRPr>
                    </a:pPr>
                    <a:r>
                      <a:t>830</a:t>
                    </a:r>
                  </a:p>
                </c:rich>
              </c:tx>
              <c:showLegendKey val="0"/>
              <c:showVal val="1"/>
              <c:showCatName val="0"/>
              <c:showSerName val="0"/>
              <c:showPercent val="0"/>
              <c:showBubbleSize val="0"/>
            </c:dLbl>
            <c:dLbl>
              <c:idx val="3"/>
              <c:tx>
                <c:rich>
                  <a:bodyPr/>
                  <a:lstStyle/>
                  <a:p>
                    <a:pPr>
                      <a:defRPr sz="800">
                        <a:latin typeface="Nexa Book (Body)"/>
                      </a:defRPr>
                    </a:pPr>
                    <a:r>
                      <a:t>692</a:t>
                    </a:r>
                  </a:p>
                </c:rich>
              </c:tx>
              <c:showLegendKey val="0"/>
              <c:showVal val="1"/>
              <c:showCatName val="0"/>
              <c:showSerName val="0"/>
              <c:showPercent val="0"/>
              <c:showBubbleSize val="0"/>
            </c:dLbl>
            <c:dLbl>
              <c:idx val="4"/>
              <c:tx>
                <c:rich>
                  <a:bodyPr/>
                  <a:lstStyle/>
                  <a:p>
                    <a:pPr>
                      <a:defRPr sz="800">
                        <a:latin typeface="Nexa Book (Body)"/>
                      </a:defRPr>
                    </a:pPr>
                    <a:r>
                      <a:t>235</a:t>
                    </a:r>
                  </a:p>
                </c:rich>
              </c:tx>
              <c:showLegendKey val="0"/>
              <c:showVal val="1"/>
              <c:showCatName val="0"/>
              <c:showSerName val="0"/>
              <c:showPercent val="0"/>
              <c:showBubbleSize val="0"/>
            </c:dLbl>
            <c:dLbl>
              <c:idx val="5"/>
              <c:tx>
                <c:rich>
                  <a:bodyPr/>
                  <a:lstStyle/>
                  <a:p>
                    <a:pPr>
                      <a:defRPr sz="800">
                        <a:latin typeface="Nexa Book (Body)"/>
                      </a:defRPr>
                    </a:pPr>
                    <a:r>
                      <a:t>2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3145.98094</c:v>
                </c:pt>
                <c:pt idx="1">
                  <c:v>1362.46761</c:v>
                </c:pt>
                <c:pt idx="2">
                  <c:v>829.81697</c:v>
                </c:pt>
                <c:pt idx="3">
                  <c:v>691.5786</c:v>
                </c:pt>
                <c:pt idx="4">
                  <c:v>234.76855</c:v>
                </c:pt>
                <c:pt idx="5">
                  <c:v>27.3492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39</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141</a:t>
                    </a:r>
                  </a:p>
                </c:rich>
              </c:tx>
              <c:showLegendKey val="0"/>
              <c:showVal val="1"/>
              <c:showCatName val="0"/>
              <c:showSerName val="0"/>
              <c:showPercent val="0"/>
              <c:showBubbleSize val="0"/>
            </c:dLbl>
            <c:dLbl>
              <c:idx val="3"/>
              <c:tx>
                <c:rich>
                  <a:bodyPr/>
                  <a:lstStyle/>
                  <a:p>
                    <a:pPr>
                      <a:defRPr sz="800">
                        <a:latin typeface="Nexa Book (Body)"/>
                      </a:defRPr>
                    </a:pPr>
                    <a:r>
                      <a:t>98</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239.08147</c:v>
                </c:pt>
                <c:pt idx="1">
                  <c:v>0.0</c:v>
                </c:pt>
                <c:pt idx="2">
                  <c:v>141.19206</c:v>
                </c:pt>
                <c:pt idx="3">
                  <c:v>97.88941</c:v>
                </c:pt>
                <c:pt idx="4">
                  <c:v>0.0</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62</a:t>
                    </a:r>
                  </a:p>
                </c:rich>
              </c:tx>
              <c:showLegendKey val="0"/>
              <c:showVal val="1"/>
              <c:showCatName val="0"/>
              <c:showSerName val="0"/>
              <c:showPercent val="0"/>
              <c:showBubbleSize val="0"/>
            </c:dLbl>
            <c:dLbl>
              <c:idx val="2"/>
              <c:tx>
                <c:rich>
                  <a:bodyPr/>
                  <a:lstStyle/>
                  <a:p>
                    <a:pPr>
                      <a:defRPr sz="800">
                        <a:latin typeface="Nexa Book (Body)"/>
                      </a:defRPr>
                    </a:pPr>
                    <a:r>
                      <a:t>830</a:t>
                    </a:r>
                  </a:p>
                </c:rich>
              </c:tx>
              <c:showLegendKey val="0"/>
              <c:showVal val="1"/>
              <c:showCatName val="0"/>
              <c:showSerName val="0"/>
              <c:showPercent val="0"/>
              <c:showBubbleSize val="0"/>
            </c:dLbl>
            <c:dLbl>
              <c:idx val="3"/>
              <c:tx>
                <c:rich>
                  <a:bodyPr/>
                  <a:lstStyle/>
                  <a:p>
                    <a:pPr>
                      <a:defRPr sz="800">
                        <a:latin typeface="Nexa Book (Body)"/>
                      </a:defRPr>
                    </a:pPr>
                    <a:r>
                      <a:t>692</a:t>
                    </a:r>
                  </a:p>
                </c:rich>
              </c:tx>
              <c:showLegendKey val="0"/>
              <c:showVal val="1"/>
              <c:showCatName val="0"/>
              <c:showSerName val="0"/>
              <c:showPercent val="0"/>
              <c:showBubbleSize val="0"/>
            </c:dLbl>
            <c:dLbl>
              <c:idx val="4"/>
              <c:tx>
                <c:rich>
                  <a:bodyPr/>
                  <a:lstStyle/>
                  <a:p>
                    <a:pPr>
                      <a:defRPr sz="800">
                        <a:latin typeface="Nexa Book (Body)"/>
                      </a:defRPr>
                    </a:pPr>
                    <a:r>
                      <a:t>235</a:t>
                    </a:r>
                  </a:p>
                </c:rich>
              </c:tx>
              <c:showLegendKey val="0"/>
              <c:showVal val="1"/>
              <c:showCatName val="0"/>
              <c:showSerName val="0"/>
              <c:showPercent val="0"/>
              <c:showBubbleSize val="0"/>
            </c:dLbl>
            <c:dLbl>
              <c:idx val="5"/>
              <c:tx>
                <c:rich>
                  <a:bodyPr/>
                  <a:lstStyle/>
                  <a:p>
                    <a:pPr>
                      <a:defRPr sz="800">
                        <a:latin typeface="Nexa Book (Body)"/>
                      </a:defRPr>
                    </a:pPr>
                    <a:r>
                      <a:t>2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3145.98094</c:v>
                </c:pt>
                <c:pt idx="1">
                  <c:v>1362.46761</c:v>
                </c:pt>
                <c:pt idx="2">
                  <c:v>829.81697</c:v>
                </c:pt>
                <c:pt idx="3">
                  <c:v>691.5786</c:v>
                </c:pt>
                <c:pt idx="4">
                  <c:v>234.76855</c:v>
                </c:pt>
                <c:pt idx="5">
                  <c:v>27.3492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31</a:t>
                    </a:r>
                  </a:p>
                </c:rich>
              </c:tx>
              <c:showLegendKey val="0"/>
              <c:showVal val="1"/>
              <c:showCatName val="0"/>
              <c:showSerName val="0"/>
              <c:showPercent val="0"/>
              <c:showBubbleSize val="0"/>
            </c:dLbl>
            <c:dLbl>
              <c:idx val="1"/>
              <c:tx>
                <c:rich>
                  <a:bodyPr/>
                  <a:lstStyle/>
                  <a:p>
                    <a:pPr>
                      <a:defRPr sz="800">
                        <a:latin typeface="Nexa Book (Body)"/>
                      </a:defRPr>
                    </a:pPr>
                    <a:r>
                      <a:t>15</a:t>
                    </a:r>
                  </a:p>
                </c:rich>
              </c:tx>
              <c:showLegendKey val="0"/>
              <c:showVal val="1"/>
              <c:showCatName val="0"/>
              <c:showSerName val="0"/>
              <c:showPercent val="0"/>
              <c:showBubbleSize val="0"/>
            </c:dLbl>
            <c:dLbl>
              <c:idx val="2"/>
              <c:tx>
                <c:rich>
                  <a:bodyPr/>
                  <a:lstStyle/>
                  <a:p>
                    <a:pPr>
                      <a:defRPr sz="800">
                        <a:latin typeface="Nexa Book (Body)"/>
                      </a:defRPr>
                    </a:pPr>
                    <a:r>
                      <a:t>129</a:t>
                    </a:r>
                  </a:p>
                </c:rich>
              </c:tx>
              <c:showLegendKey val="0"/>
              <c:showVal val="1"/>
              <c:showCatName val="0"/>
              <c:showSerName val="0"/>
              <c:showPercent val="0"/>
              <c:showBubbleSize val="0"/>
            </c:dLbl>
            <c:dLbl>
              <c:idx val="3"/>
              <c:tx>
                <c:rich>
                  <a:bodyPr/>
                  <a:lstStyle/>
                  <a:p>
                    <a:pPr>
                      <a:defRPr sz="800">
                        <a:latin typeface="Nexa Book (Body)"/>
                      </a:defRPr>
                    </a:pPr>
                    <a:r>
                      <a:t>86</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230.70996</c:v>
                </c:pt>
                <c:pt idx="1">
                  <c:v>15.22183</c:v>
                </c:pt>
                <c:pt idx="2">
                  <c:v>128.62065</c:v>
                </c:pt>
                <c:pt idx="3">
                  <c:v>85.68392</c:v>
                </c:pt>
                <c:pt idx="4">
                  <c:v>0.0</c:v>
                </c:pt>
                <c:pt idx="5">
                  <c:v>1.1835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62</a:t>
                    </a:r>
                  </a:p>
                </c:rich>
              </c:tx>
              <c:showLegendKey val="0"/>
              <c:showVal val="1"/>
              <c:showCatName val="0"/>
              <c:showSerName val="0"/>
              <c:showPercent val="0"/>
              <c:showBubbleSize val="0"/>
            </c:dLbl>
            <c:dLbl>
              <c:idx val="2"/>
              <c:tx>
                <c:rich>
                  <a:bodyPr/>
                  <a:lstStyle/>
                  <a:p>
                    <a:pPr>
                      <a:defRPr sz="800">
                        <a:latin typeface="Nexa Book (Body)"/>
                      </a:defRPr>
                    </a:pPr>
                    <a:r>
                      <a:t>830</a:t>
                    </a:r>
                  </a:p>
                </c:rich>
              </c:tx>
              <c:showLegendKey val="0"/>
              <c:showVal val="1"/>
              <c:showCatName val="0"/>
              <c:showSerName val="0"/>
              <c:showPercent val="0"/>
              <c:showBubbleSize val="0"/>
            </c:dLbl>
            <c:dLbl>
              <c:idx val="3"/>
              <c:tx>
                <c:rich>
                  <a:bodyPr/>
                  <a:lstStyle/>
                  <a:p>
                    <a:pPr>
                      <a:defRPr sz="800">
                        <a:latin typeface="Nexa Book (Body)"/>
                      </a:defRPr>
                    </a:pPr>
                    <a:r>
                      <a:t>692</a:t>
                    </a:r>
                  </a:p>
                </c:rich>
              </c:tx>
              <c:showLegendKey val="0"/>
              <c:showVal val="1"/>
              <c:showCatName val="0"/>
              <c:showSerName val="0"/>
              <c:showPercent val="0"/>
              <c:showBubbleSize val="0"/>
            </c:dLbl>
            <c:dLbl>
              <c:idx val="4"/>
              <c:tx>
                <c:rich>
                  <a:bodyPr/>
                  <a:lstStyle/>
                  <a:p>
                    <a:pPr>
                      <a:defRPr sz="800">
                        <a:latin typeface="Nexa Book (Body)"/>
                      </a:defRPr>
                    </a:pPr>
                    <a:r>
                      <a:t>235</a:t>
                    </a:r>
                  </a:p>
                </c:rich>
              </c:tx>
              <c:showLegendKey val="0"/>
              <c:showVal val="1"/>
              <c:showCatName val="0"/>
              <c:showSerName val="0"/>
              <c:showPercent val="0"/>
              <c:showBubbleSize val="0"/>
            </c:dLbl>
            <c:dLbl>
              <c:idx val="5"/>
              <c:tx>
                <c:rich>
                  <a:bodyPr/>
                  <a:lstStyle/>
                  <a:p>
                    <a:pPr>
                      <a:defRPr sz="800">
                        <a:latin typeface="Nexa Book (Body)"/>
                      </a:defRPr>
                    </a:pPr>
                    <a:r>
                      <a:t>2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3145.98094</c:v>
                </c:pt>
                <c:pt idx="1">
                  <c:v>1362.46761</c:v>
                </c:pt>
                <c:pt idx="2">
                  <c:v>829.81697</c:v>
                </c:pt>
                <c:pt idx="3">
                  <c:v>691.5786</c:v>
                </c:pt>
                <c:pt idx="4">
                  <c:v>234.76855</c:v>
                </c:pt>
                <c:pt idx="5">
                  <c:v>27.3492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r>
                      <a:t>44</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43.99627</c:v>
                </c:pt>
                <c:pt idx="1">
                  <c:v>43.94025</c:v>
                </c:pt>
                <c:pt idx="2">
                  <c:v>0.01512</c:v>
                </c:pt>
                <c:pt idx="3">
                  <c:v>0.0409</c:v>
                </c:pt>
                <c:pt idx="4">
                  <c:v>0.0</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138</a:t>
                    </a:r>
                  </a:p>
                </c:rich>
              </c:tx>
              <c:showLegendKey val="0"/>
              <c:showVal val="1"/>
              <c:showCatName val="0"/>
              <c:showSerName val="0"/>
              <c:showPercent val="0"/>
              <c:showBubbleSize val="0"/>
            </c:dLbl>
            <c:dLbl>
              <c:idx val="2"/>
              <c:tx>
                <c:rich>
                  <a:bodyPr/>
                  <a:lstStyle/>
                  <a:p>
                    <a:pPr>
                      <a:defRPr sz="800">
                        <a:latin typeface="Nexa Book (Body)"/>
                      </a:defRPr>
                    </a:pPr>
                    <a:r>
                      <a:t>120</a:t>
                    </a:r>
                  </a:p>
                </c:rich>
              </c:tx>
              <c:showLegendKey val="0"/>
              <c:showVal val="1"/>
              <c:showCatName val="0"/>
              <c:showSerName val="0"/>
              <c:showPercent val="0"/>
              <c:showBubbleSize val="0"/>
            </c:dLbl>
            <c:dLbl>
              <c:idx val="3"/>
              <c:tx>
                <c:rich>
                  <a:bodyPr/>
                  <a:lstStyle/>
                  <a:p>
                    <a:pPr>
                      <a:defRPr sz="800">
                        <a:latin typeface="Nexa Book (Body)"/>
                      </a:defRPr>
                    </a:pPr>
                    <a:r>
                      <a:t>43</a:t>
                    </a:r>
                  </a:p>
                </c:rich>
              </c:tx>
              <c:showLegendKey val="0"/>
              <c:showVal val="1"/>
              <c:showCatName val="0"/>
              <c:showSerName val="0"/>
              <c:showPercent val="0"/>
              <c:showBubbleSize val="0"/>
            </c:dLbl>
            <c:dLbl>
              <c:idx val="4"/>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azors</c:v>
                </c:pt>
                <c:pt idx="2">
                  <c:v>Refills</c:v>
                </c:pt>
                <c:pt idx="3">
                  <c:v>Disposable</c:v>
                </c:pt>
                <c:pt idx="4">
                  <c:v>Hybrid</c:v>
                </c:pt>
              </c:strCache>
            </c:strRef>
          </c:cat>
          <c:val>
            <c:numRef>
              <c:f>Sheet1!$B$2:$B$6</c:f>
              <c:numCache>
                <c:formatCode>General</c:formatCode>
                <c:ptCount val="5"/>
                <c:pt idx="0">
                  <c:v>302.56399</c:v>
                </c:pt>
                <c:pt idx="1">
                  <c:v>138.38857</c:v>
                </c:pt>
                <c:pt idx="2">
                  <c:v>120.36476</c:v>
                </c:pt>
                <c:pt idx="3">
                  <c:v>42.52991</c:v>
                </c:pt>
                <c:pt idx="4">
                  <c:v>1.2807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azors</c:v>
                </c:pt>
                <c:pt idx="2">
                  <c:v>Refills</c:v>
                </c:pt>
                <c:pt idx="3">
                  <c:v>Disposable</c:v>
                </c:pt>
                <c:pt idx="4">
                  <c:v>Hybrid</c:v>
                </c:pt>
              </c:strCache>
            </c:strRef>
          </c:cat>
          <c:val>
            <c:numRef>
              <c:f>Sheet1!$B$2:$B$6</c:f>
              <c:numCache>
                <c:formatCode>General</c:formatCode>
                <c:ptCount val="5"/>
                <c:pt idx="0">
                  <c:v>1.16891</c:v>
                </c:pt>
                <c:pt idx="1">
                  <c:v>0.03941</c:v>
                </c:pt>
                <c:pt idx="2">
                  <c:v>0.39073</c:v>
                </c:pt>
                <c:pt idx="3">
                  <c:v>0.73877</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793</a:t>
                    </a:r>
                  </a:p>
                </c:rich>
              </c:tx>
              <c:showLegendKey val="0"/>
              <c:showVal val="1"/>
              <c:showCatName val="0"/>
              <c:showSerName val="0"/>
              <c:showPercent val="0"/>
              <c:showBubbleSize val="0"/>
            </c:dLbl>
            <c:dLbl>
              <c:idx val="1"/>
              <c:tx>
                <c:rich>
                  <a:bodyPr/>
                  <a:lstStyle/>
                  <a:p>
                    <a:pPr>
                      <a:defRPr sz="800">
                        <a:latin typeface="Nexa Book (Body)"/>
                      </a:defRPr>
                    </a:pPr>
                    <a:r>
                      <a:t>1646</a:t>
                    </a:r>
                  </a:p>
                </c:rich>
              </c:tx>
              <c:showLegendKey val="0"/>
              <c:showVal val="1"/>
              <c:showCatName val="0"/>
              <c:showSerName val="0"/>
              <c:showPercent val="0"/>
              <c:showBubbleSize val="0"/>
            </c:dLbl>
            <c:dLbl>
              <c:idx val="2"/>
              <c:tx>
                <c:rich>
                  <a:bodyPr/>
                  <a:lstStyle/>
                  <a:p>
                    <a:pPr>
                      <a:defRPr sz="800">
                        <a:latin typeface="Nexa Book (Body)"/>
                      </a:defRPr>
                    </a:pPr>
                    <a:r>
                      <a:t>989</a:t>
                    </a:r>
                  </a:p>
                </c:rich>
              </c:tx>
              <c:showLegendKey val="0"/>
              <c:showVal val="1"/>
              <c:showCatName val="0"/>
              <c:showSerName val="0"/>
              <c:showPercent val="0"/>
              <c:showBubbleSize val="0"/>
            </c:dLbl>
            <c:dLbl>
              <c:idx val="3"/>
              <c:tx>
                <c:rich>
                  <a:bodyPr/>
                  <a:lstStyle/>
                  <a:p>
                    <a:pPr>
                      <a:defRPr sz="800">
                        <a:latin typeface="Nexa Book (Body)"/>
                      </a:defRPr>
                    </a:pPr>
                    <a:r>
                      <a:t>457</a:t>
                    </a:r>
                  </a:p>
                </c:rich>
              </c:tx>
              <c:showLegendKey val="0"/>
              <c:showVal val="1"/>
              <c:showCatName val="0"/>
              <c:showSerName val="0"/>
              <c:showPercent val="0"/>
              <c:showBubbleSize val="0"/>
            </c:dLbl>
            <c:dLbl>
              <c:idx val="4"/>
              <c:tx>
                <c:rich>
                  <a:bodyPr/>
                  <a:lstStyle/>
                  <a:p>
                    <a:pPr>
                      <a:defRPr sz="800">
                        <a:latin typeface="Nexa Book (Body)"/>
                      </a:defRPr>
                    </a:pPr>
                    <a:r>
                      <a:t>373</a:t>
                    </a:r>
                  </a:p>
                </c:rich>
              </c:tx>
              <c:showLegendKey val="0"/>
              <c:showVal val="1"/>
              <c:showCatName val="0"/>
              <c:showSerName val="0"/>
              <c:showPercent val="0"/>
              <c:showBubbleSize val="0"/>
            </c:dLbl>
            <c:dLbl>
              <c:idx val="5"/>
              <c:tx>
                <c:rich>
                  <a:bodyPr/>
                  <a:lstStyle/>
                  <a:p>
                    <a:pPr>
                      <a:defRPr sz="800">
                        <a:latin typeface="Nexa Book (Body)"/>
                      </a:defRPr>
                    </a:pPr>
                    <a:r>
                      <a:t>284</a:t>
                    </a:r>
                  </a:p>
                </c:rich>
              </c:tx>
              <c:showLegendKey val="0"/>
              <c:showVal val="1"/>
              <c:showCatName val="0"/>
              <c:showSerName val="0"/>
              <c:showPercent val="0"/>
              <c:showBubbleSize val="0"/>
            </c:dLbl>
            <c:dLbl>
              <c:idx val="6"/>
              <c:tx>
                <c:rich>
                  <a:bodyPr/>
                  <a:lstStyle/>
                  <a:p>
                    <a:pPr>
                      <a:defRPr sz="800">
                        <a:latin typeface="Nexa Book (Body)"/>
                      </a:defRPr>
                    </a:pPr>
                    <a:r>
                      <a:t>45</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3793.45332</c:v>
                </c:pt>
                <c:pt idx="1">
                  <c:v>1645.58286</c:v>
                </c:pt>
                <c:pt idx="2">
                  <c:v>989.13328</c:v>
                </c:pt>
                <c:pt idx="3">
                  <c:v>456.63592</c:v>
                </c:pt>
                <c:pt idx="4">
                  <c:v>373.49224</c:v>
                </c:pt>
                <c:pt idx="5">
                  <c:v>283.81507</c:v>
                </c:pt>
                <c:pt idx="6">
                  <c:v>44.79365</c:v>
                </c:pt>
                <c:pt idx="7">
                  <c:v>0.000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487</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31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83</a:t>
                    </a:r>
                  </a:p>
                </c:rich>
              </c:tx>
              <c:showLegendKey val="0"/>
              <c:showVal val="1"/>
              <c:showCatName val="0"/>
              <c:showSerName val="0"/>
              <c:showPercent val="0"/>
              <c:showBubbleSize val="0"/>
            </c:dLbl>
            <c:dLbl>
              <c:idx val="6"/>
              <c:tx>
                <c:rich>
                  <a:bodyPr/>
                  <a:lstStyle/>
                  <a:p>
                    <a:pPr>
                      <a:defRPr sz="800">
                        <a:latin typeface="Nexa Book (Body)"/>
                      </a:defRPr>
                    </a:pPr>
                    <a:r>
                      <a:t>17</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899.33295</c:v>
                </c:pt>
                <c:pt idx="1">
                  <c:v>487.43931</c:v>
                </c:pt>
                <c:pt idx="2">
                  <c:v>1.49261</c:v>
                </c:pt>
                <c:pt idx="3">
                  <c:v>309.90767</c:v>
                </c:pt>
                <c:pt idx="4">
                  <c:v>0.3163</c:v>
                </c:pt>
                <c:pt idx="5">
                  <c:v>83.09733</c:v>
                </c:pt>
                <c:pt idx="6">
                  <c:v>17.07973</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95</a:t>
                    </a:r>
                  </a:p>
                </c:rich>
              </c:tx>
              <c:showLegendKey val="0"/>
              <c:showVal val="1"/>
              <c:showCatName val="0"/>
              <c:showSerName val="0"/>
              <c:showPercent val="0"/>
              <c:showBubbleSize val="0"/>
            </c:dLbl>
            <c:dLbl>
              <c:idx val="2"/>
              <c:tx>
                <c:rich>
                  <a:bodyPr/>
                  <a:lstStyle/>
                  <a:p>
                    <a:pPr>
                      <a:defRPr sz="800">
                        <a:latin typeface="Nexa Book (Body)"/>
                      </a:defRPr>
                    </a:pPr>
                    <a:r>
                      <a:t>276</a:t>
                    </a:r>
                  </a:p>
                </c:rich>
              </c:tx>
              <c:showLegendKey val="0"/>
              <c:showVal val="1"/>
              <c:showCatName val="0"/>
              <c:showSerName val="0"/>
              <c:showPercent val="0"/>
              <c:showBubbleSize val="0"/>
            </c:dLbl>
            <c:dLbl>
              <c:idx val="3"/>
              <c:tx>
                <c:rich>
                  <a:bodyPr/>
                  <a:lstStyle/>
                  <a:p>
                    <a:pPr>
                      <a:defRPr sz="800">
                        <a:latin typeface="Nexa Book (Body)"/>
                      </a:defRPr>
                    </a:pPr>
                    <a:r>
                      <a:t>138</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1</a:t>
                    </a:r>
                  </a:p>
                </c:rich>
              </c:tx>
              <c:showLegendKey val="0"/>
              <c:showVal val="1"/>
              <c:showCatName val="0"/>
              <c:showSerName val="0"/>
              <c:showPercent val="0"/>
              <c:showBubbleSize val="0"/>
            </c:dLbl>
            <c:dLbl>
              <c:idx val="6"/>
              <c:tx>
                <c:rich>
                  <a:bodyPr/>
                  <a:lstStyle/>
                  <a:p>
                    <a:pPr>
                      <a:defRPr sz="800">
                        <a:latin typeface="Nexa Book (Body)"/>
                      </a:defRPr>
                    </a:pPr>
                    <a:r>
                      <a:t>8</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814.07062</c:v>
                </c:pt>
                <c:pt idx="1">
                  <c:v>295.46099</c:v>
                </c:pt>
                <c:pt idx="2">
                  <c:v>276.29591</c:v>
                </c:pt>
                <c:pt idx="3">
                  <c:v>138.40344</c:v>
                </c:pt>
                <c:pt idx="4">
                  <c:v>54.80306</c:v>
                </c:pt>
                <c:pt idx="5">
                  <c:v>41.28569</c:v>
                </c:pt>
                <c:pt idx="6">
                  <c:v>7.82153</c:v>
                </c:pt>
                <c:pt idx="7">
                  <c:v>0.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69</a:t>
                    </a:r>
                  </a:p>
                </c:rich>
              </c:tx>
              <c:showLegendKey val="0"/>
              <c:showVal val="1"/>
              <c:showCatName val="0"/>
              <c:showSerName val="0"/>
              <c:showPercent val="0"/>
              <c:showBubbleSize val="0"/>
            </c:dLbl>
            <c:dLbl>
              <c:idx val="1"/>
              <c:tx>
                <c:rich>
                  <a:bodyPr/>
                  <a:lstStyle/>
                  <a:p>
                    <a:pPr>
                      <a:defRPr sz="800">
                        <a:latin typeface="Nexa Book (Body)"/>
                      </a:defRPr>
                    </a:pPr>
                    <a:r>
                      <a:t>98</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r>
                      <a:t>138</a:t>
                    </a:r>
                  </a:p>
                </c:rich>
              </c:tx>
              <c:showLegendKey val="0"/>
              <c:showVal val="1"/>
              <c:showCatName val="0"/>
              <c:showSerName val="0"/>
              <c:showPercent val="0"/>
              <c:showBubbleSize val="0"/>
            </c:dLbl>
            <c:dLbl>
              <c:idx val="4"/>
              <c:tx>
                <c:rich>
                  <a:bodyPr/>
                  <a:lstStyle/>
                  <a:p>
                    <a:pPr>
                      <a:defRPr sz="800">
                        <a:latin typeface="Nexa Book (Body)"/>
                      </a:defRPr>
                    </a:pPr>
                    <a:r>
                      <a:t>23</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268.97886</c:v>
                </c:pt>
                <c:pt idx="1">
                  <c:v>98.27536</c:v>
                </c:pt>
                <c:pt idx="2">
                  <c:v>9.5728</c:v>
                </c:pt>
                <c:pt idx="3">
                  <c:v>138.38629</c:v>
                </c:pt>
                <c:pt idx="4">
                  <c:v>22.74434</c:v>
                </c:pt>
                <c:pt idx="5">
                  <c:v>7e-05</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186</a:t>
                    </a:r>
                  </a:p>
                </c:rich>
              </c:tx>
              <c:showLegendKey val="0"/>
              <c:showVal val="1"/>
              <c:showCatName val="0"/>
              <c:showSerName val="0"/>
              <c:showPercent val="0"/>
              <c:showBubbleSize val="0"/>
            </c:dLbl>
            <c:dLbl>
              <c:idx val="2"/>
              <c:tx>
                <c:rich>
                  <a:bodyPr/>
                  <a:lstStyle/>
                  <a:p>
                    <a:pPr>
                      <a:defRPr sz="800">
                        <a:latin typeface="Nexa Book (Body)"/>
                      </a:defRPr>
                    </a:pPr>
                    <a:r>
                      <a:t>140</a:t>
                    </a:r>
                  </a:p>
                </c:rich>
              </c:tx>
              <c:showLegendKey val="0"/>
              <c:showVal val="1"/>
              <c:showCatName val="0"/>
              <c:showSerName val="0"/>
              <c:showPercent val="0"/>
              <c:showBubbleSize val="0"/>
            </c:dLbl>
            <c:dLbl>
              <c:idx val="3"/>
              <c:tx>
                <c:rich>
                  <a:bodyPr/>
                  <a:lstStyle/>
                  <a:p>
                    <a:pPr>
                      <a:defRPr sz="800">
                        <a:latin typeface="Nexa Book (Body)"/>
                      </a:defRPr>
                    </a:pPr>
                    <a:r>
                      <a:t>56</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36</a:t>
                    </a:r>
                  </a:p>
                </c:rich>
              </c:tx>
              <c:showLegendKey val="0"/>
              <c:showVal val="1"/>
              <c:showCatName val="0"/>
              <c:showSerName val="0"/>
              <c:showPercent val="0"/>
              <c:showBubbleSize val="0"/>
            </c:dLbl>
            <c:dLbl>
              <c:idx val="6"/>
              <c:tx>
                <c:rich>
                  <a:bodyPr/>
                  <a:lstStyle/>
                  <a:p>
                    <a:pPr>
                      <a:defRPr sz="800">
                        <a:latin typeface="Nexa Book (Body)"/>
                      </a:defRPr>
                    </a:pPr>
                    <a:r>
                      <a:t>3</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475.20104</c:v>
                </c:pt>
                <c:pt idx="1">
                  <c:v>185.90964</c:v>
                </c:pt>
                <c:pt idx="2">
                  <c:v>140.39276</c:v>
                </c:pt>
                <c:pt idx="3">
                  <c:v>55.72568</c:v>
                </c:pt>
                <c:pt idx="4">
                  <c:v>54.8079</c:v>
                </c:pt>
                <c:pt idx="5">
                  <c:v>35.6176</c:v>
                </c:pt>
                <c:pt idx="6">
                  <c:v>2.74736</c:v>
                </c:pt>
                <c:pt idx="7">
                  <c:v>0.000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02</a:t>
                    </a:r>
                  </a:p>
                </c:rich>
              </c:tx>
              <c:showLegendKey val="0"/>
              <c:showVal val="1"/>
              <c:showCatName val="0"/>
              <c:showSerName val="0"/>
              <c:showPercent val="0"/>
              <c:showBubbleSize val="0"/>
            </c:dLbl>
            <c:dLbl>
              <c:idx val="1"/>
              <c:tx>
                <c:rich>
                  <a:bodyPr/>
                  <a:lstStyle/>
                  <a:p>
                    <a:pPr>
                      <a:defRPr sz="800">
                        <a:latin typeface="Nexa Book (Body)"/>
                      </a:defRPr>
                    </a:pPr>
                    <a:r>
                      <a:t>51</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38</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10</a:t>
                    </a:r>
                  </a:p>
                </c:rich>
              </c:tx>
              <c:showLegendKey val="0"/>
              <c:showVal val="1"/>
              <c:showCatName val="0"/>
              <c:showSerName val="0"/>
              <c:showPercent val="0"/>
              <c:showBubbleSize val="0"/>
            </c:dLbl>
            <c:dLbl>
              <c:idx val="6"/>
              <c:tx>
                <c:rich>
                  <a:bodyPr/>
                  <a:lstStyle/>
                  <a:p>
                    <a:pPr>
                      <a:defRPr sz="800">
                        <a:latin typeface="Nexa Book (Body)"/>
                      </a:defRPr>
                    </a:pPr>
                    <a:r>
                      <a:t>2</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102.04424</c:v>
                </c:pt>
                <c:pt idx="1">
                  <c:v>51.19497</c:v>
                </c:pt>
                <c:pt idx="2">
                  <c:v>0.20281</c:v>
                </c:pt>
                <c:pt idx="3">
                  <c:v>38.18867</c:v>
                </c:pt>
                <c:pt idx="4">
                  <c:v>0.13238</c:v>
                </c:pt>
                <c:pt idx="5">
                  <c:v>10.13981</c:v>
                </c:pt>
                <c:pt idx="6">
                  <c:v>2.1856</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5219</a:t>
                    </a:r>
                  </a:p>
                </c:rich>
              </c:tx>
              <c:showLegendKey val="0"/>
              <c:showVal val="1"/>
              <c:showCatName val="0"/>
              <c:showSerName val="0"/>
              <c:showPercent val="0"/>
              <c:showBubbleSize val="0"/>
            </c:dLbl>
            <c:dLbl>
              <c:idx val="2"/>
              <c:tx>
                <c:rich>
                  <a:bodyPr/>
                  <a:lstStyle/>
                  <a:p>
                    <a:pPr>
                      <a:defRPr sz="800">
                        <a:latin typeface="Nexa Book (Body)"/>
                      </a:defRPr>
                    </a:pPr>
                    <a:r>
                      <a:t>3615</a:t>
                    </a:r>
                  </a:p>
                </c:rich>
              </c:tx>
              <c:showLegendKey val="0"/>
              <c:showVal val="1"/>
              <c:showCatName val="0"/>
              <c:showSerName val="0"/>
              <c:showPercent val="0"/>
              <c:showBubbleSize val="0"/>
            </c:dLbl>
            <c:dLbl>
              <c:idx val="3"/>
              <c:tx>
                <c:rich>
                  <a:bodyPr/>
                  <a:lstStyle/>
                  <a:p>
                    <a:pPr>
                      <a:defRPr sz="800">
                        <a:latin typeface="Nexa Book (Body)"/>
                      </a:defRPr>
                    </a:pPr>
                    <a:r>
                      <a:t>1447</a:t>
                    </a:r>
                  </a:p>
                </c:rich>
              </c:tx>
              <c:showLegendKey val="0"/>
              <c:showVal val="1"/>
              <c:showCatName val="0"/>
              <c:showSerName val="0"/>
              <c:showPercent val="0"/>
              <c:showBubbleSize val="0"/>
            </c:dLbl>
            <c:dLbl>
              <c:idx val="4"/>
              <c:tx>
                <c:rich>
                  <a:bodyPr/>
                  <a:lstStyle/>
                  <a:p>
                    <a:pPr>
                      <a:defRPr sz="800">
                        <a:latin typeface="Nexa Book (Body)"/>
                      </a:defRPr>
                    </a:pPr>
                    <a:r>
                      <a:t>895</a:t>
                    </a:r>
                  </a:p>
                </c:rich>
              </c:tx>
              <c:showLegendKey val="0"/>
              <c:showVal val="1"/>
              <c:showCatName val="0"/>
              <c:showSerName val="0"/>
              <c:showPercent val="0"/>
              <c:showBubbleSize val="0"/>
            </c:dLbl>
            <c:dLbl>
              <c:idx val="5"/>
              <c:tx>
                <c:rich>
                  <a:bodyPr/>
                  <a:lstStyle/>
                  <a:p>
                    <a:pPr>
                      <a:defRPr sz="800">
                        <a:latin typeface="Nexa Book (Body)"/>
                      </a:defRPr>
                    </a:pPr>
                    <a:r>
                      <a:t>787</a:t>
                    </a:r>
                  </a:p>
                </c:rich>
              </c:tx>
              <c:showLegendKey val="0"/>
              <c:showVal val="1"/>
              <c:showCatName val="0"/>
              <c:showSerName val="0"/>
              <c:showPercent val="0"/>
              <c:showBubbleSize val="0"/>
            </c:dLbl>
            <c:dLbl>
              <c:idx val="6"/>
              <c:tx>
                <c:rich>
                  <a:bodyPr/>
                  <a:lstStyle/>
                  <a:p>
                    <a:pPr>
                      <a:defRPr sz="800">
                        <a:latin typeface="Nexa Book (Body)"/>
                      </a:defRPr>
                    </a:pPr>
                    <a:r>
                      <a:t>178</a:t>
                    </a:r>
                  </a:p>
                </c:rich>
              </c:tx>
              <c:showLegendKey val="0"/>
              <c:showVal val="1"/>
              <c:showCatName val="0"/>
              <c:showSerName val="0"/>
              <c:showPercent val="0"/>
              <c:showBubbleSize val="0"/>
            </c:dLbl>
            <c:dLbl>
              <c:idx val="7"/>
              <c:tx>
                <c:rich>
                  <a:bodyPr/>
                  <a:lstStyle/>
                  <a:p>
                    <a:pPr>
                      <a:defRPr sz="800">
                        <a:latin typeface="Nexa Book (Body)"/>
                      </a:defRPr>
                    </a:pPr>
                    <a:r>
                      <a:t>1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12157.80027</c:v>
                </c:pt>
                <c:pt idx="1">
                  <c:v>5219.43642</c:v>
                </c:pt>
                <c:pt idx="2">
                  <c:v>3614.87864</c:v>
                </c:pt>
                <c:pt idx="3">
                  <c:v>1447.11266</c:v>
                </c:pt>
                <c:pt idx="4">
                  <c:v>895.11723</c:v>
                </c:pt>
                <c:pt idx="5">
                  <c:v>786.94716</c:v>
                </c:pt>
                <c:pt idx="6">
                  <c:v>177.5949</c:v>
                </c:pt>
                <c:pt idx="7">
                  <c:v>16.7132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66</a:t>
                    </a:r>
                  </a:p>
                </c:rich>
              </c:tx>
              <c:showLegendKey val="0"/>
              <c:showVal val="1"/>
              <c:showCatName val="0"/>
              <c:showSerName val="0"/>
              <c:showPercent val="0"/>
              <c:showBubbleSize val="0"/>
            </c:dLbl>
            <c:dLbl>
              <c:idx val="1"/>
              <c:tx>
                <c:rich>
                  <a:bodyPr/>
                  <a:lstStyle/>
                  <a:p>
                    <a:pPr>
                      <a:defRPr sz="800">
                        <a:latin typeface="Nexa Book (Body)"/>
                      </a:defRPr>
                    </a:pPr>
                    <a:r>
                      <a:t>645</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21</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665.74255</c:v>
                </c:pt>
                <c:pt idx="1">
                  <c:v>645.1587</c:v>
                </c:pt>
                <c:pt idx="2">
                  <c:v>0.0</c:v>
                </c:pt>
                <c:pt idx="3">
                  <c:v>0.0</c:v>
                </c:pt>
                <c:pt idx="4">
                  <c:v>0.0</c:v>
                </c:pt>
                <c:pt idx="5">
                  <c:v>20.58385</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613</a:t>
                    </a:r>
                  </a:p>
                </c:rich>
              </c:tx>
              <c:showLegendKey val="0"/>
              <c:showVal val="1"/>
              <c:showCatName val="0"/>
              <c:showSerName val="0"/>
              <c:showPercent val="0"/>
              <c:showBubbleSize val="0"/>
            </c:dLbl>
            <c:dLbl>
              <c:idx val="2"/>
              <c:tx>
                <c:rich>
                  <a:bodyPr/>
                  <a:lstStyle/>
                  <a:p>
                    <a:pPr>
                      <a:defRPr sz="800">
                        <a:latin typeface="Nexa Book (Body)"/>
                      </a:defRPr>
                    </a:pPr>
                    <a:r>
                      <a:t>313</a:t>
                    </a:r>
                  </a:p>
                </c:rich>
              </c:tx>
              <c:showLegendKey val="0"/>
              <c:showVal val="1"/>
              <c:showCatName val="0"/>
              <c:showSerName val="0"/>
              <c:showPercent val="0"/>
              <c:showBubbleSize val="0"/>
            </c:dLbl>
            <c:dLbl>
              <c:idx val="3"/>
              <c:tx>
                <c:rich>
                  <a:bodyPr/>
                  <a:lstStyle/>
                  <a:p>
                    <a:pPr>
                      <a:defRPr sz="800">
                        <a:latin typeface="Nexa Book (Body)"/>
                      </a:defRPr>
                    </a:pPr>
                    <a:r>
                      <a:t>134</a:t>
                    </a:r>
                  </a:p>
                </c:rich>
              </c:tx>
              <c:showLegendKey val="0"/>
              <c:showVal val="1"/>
              <c:showCatName val="0"/>
              <c:showSerName val="0"/>
              <c:showPercent val="0"/>
              <c:showBubbleSize val="0"/>
            </c:dLbl>
            <c:dLbl>
              <c:idx val="4"/>
              <c:tx>
                <c:rich>
                  <a:bodyPr/>
                  <a:lstStyle/>
                  <a:p>
                    <a:pPr>
                      <a:defRPr sz="800">
                        <a:latin typeface="Nexa Book (Body)"/>
                      </a:defRPr>
                    </a:pPr>
                    <a:r>
                      <a:t>74</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dLbl>
              <c:idx val="6"/>
              <c:tx>
                <c:rich>
                  <a:bodyPr/>
                  <a:lstStyle/>
                  <a:p>
                    <a:pPr>
                      <a:defRPr sz="800">
                        <a:latin typeface="Nexa Book (Body)"/>
                      </a:defRPr>
                    </a:pPr>
                    <a:r>
                      <a:t>6</a:t>
                    </a:r>
                  </a:p>
                </c:rich>
              </c:tx>
              <c:showLegendKey val="0"/>
              <c:showVal val="1"/>
              <c:showCatName val="0"/>
              <c:showSerName val="0"/>
              <c:showPercent val="0"/>
              <c:showBubbleSize val="0"/>
            </c:dLbl>
            <c:dLbl>
              <c:idx val="7"/>
              <c:tx>
                <c:rich>
                  <a:bodyPr/>
                  <a:lstStyle/>
                  <a:p>
                    <a:pPr>
                      <a:defRPr sz="800">
                        <a:latin typeface="Nexa Book (Body)"/>
                      </a:defRPr>
                    </a:pPr>
                    <a:r>
                      <a:t>2</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Rem Blades</c:v>
                </c:pt>
                <c:pt idx="6">
                  <c:v>6 Blade</c:v>
                </c:pt>
                <c:pt idx="7">
                  <c:v>1 Blade</c:v>
                </c:pt>
              </c:strCache>
            </c:strRef>
          </c:cat>
          <c:val>
            <c:numRef>
              <c:f>Sheet1!$B$2:$B$9</c:f>
              <c:numCache>
                <c:formatCode>General</c:formatCode>
                <c:ptCount val="8"/>
                <c:pt idx="0">
                  <c:v>1201.51489</c:v>
                </c:pt>
                <c:pt idx="1">
                  <c:v>612.67196</c:v>
                </c:pt>
                <c:pt idx="2">
                  <c:v>312.66579</c:v>
                </c:pt>
                <c:pt idx="3">
                  <c:v>134.35693</c:v>
                </c:pt>
                <c:pt idx="4">
                  <c:v>73.63447</c:v>
                </c:pt>
                <c:pt idx="5">
                  <c:v>60.56051</c:v>
                </c:pt>
                <c:pt idx="6">
                  <c:v>6.12178</c:v>
                </c:pt>
                <c:pt idx="7">
                  <c:v>1.5034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47</a:t>
                    </a:r>
                  </a:p>
                </c:rich>
              </c:tx>
              <c:showLegendKey val="0"/>
              <c:showVal val="1"/>
              <c:showCatName val="0"/>
              <c:showSerName val="0"/>
              <c:showPercent val="0"/>
              <c:showBubbleSize val="0"/>
            </c:dLbl>
            <c:dLbl>
              <c:idx val="1"/>
              <c:tx>
                <c:rich>
                  <a:bodyPr/>
                  <a:lstStyle/>
                  <a:p>
                    <a:pPr>
                      <a:defRPr sz="800">
                        <a:latin typeface="Nexa Book (Body)"/>
                      </a:defRPr>
                    </a:pPr>
                    <a:r>
                      <a:t>54</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83</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9</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Rem Blades</c:v>
                </c:pt>
                <c:pt idx="6">
                  <c:v>6 Blade</c:v>
                </c:pt>
                <c:pt idx="7">
                  <c:v>1 Blade</c:v>
                </c:pt>
              </c:strCache>
            </c:strRef>
          </c:cat>
          <c:val>
            <c:numRef>
              <c:f>Sheet1!$B$2:$B$9</c:f>
              <c:numCache>
                <c:formatCode>General</c:formatCode>
                <c:ptCount val="8"/>
                <c:pt idx="0">
                  <c:v>147.41797</c:v>
                </c:pt>
                <c:pt idx="1">
                  <c:v>54.43755</c:v>
                </c:pt>
                <c:pt idx="2">
                  <c:v>0.52098</c:v>
                </c:pt>
                <c:pt idx="3">
                  <c:v>83.44267</c:v>
                </c:pt>
                <c:pt idx="4">
                  <c:v>0.0</c:v>
                </c:pt>
                <c:pt idx="5">
                  <c:v>9.01677</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613</a:t>
                    </a:r>
                  </a:p>
                </c:rich>
              </c:tx>
              <c:showLegendKey val="0"/>
              <c:showVal val="1"/>
              <c:showCatName val="0"/>
              <c:showSerName val="0"/>
              <c:showPercent val="0"/>
              <c:showBubbleSize val="0"/>
            </c:dLbl>
            <c:dLbl>
              <c:idx val="2"/>
              <c:tx>
                <c:rich>
                  <a:bodyPr/>
                  <a:lstStyle/>
                  <a:p>
                    <a:pPr>
                      <a:defRPr sz="800">
                        <a:latin typeface="Nexa Book (Body)"/>
                      </a:defRPr>
                    </a:pPr>
                    <a:r>
                      <a:t>313</a:t>
                    </a:r>
                  </a:p>
                </c:rich>
              </c:tx>
              <c:showLegendKey val="0"/>
              <c:showVal val="1"/>
              <c:showCatName val="0"/>
              <c:showSerName val="0"/>
              <c:showPercent val="0"/>
              <c:showBubbleSize val="0"/>
            </c:dLbl>
            <c:dLbl>
              <c:idx val="3"/>
              <c:tx>
                <c:rich>
                  <a:bodyPr/>
                  <a:lstStyle/>
                  <a:p>
                    <a:pPr>
                      <a:defRPr sz="800">
                        <a:latin typeface="Nexa Book (Body)"/>
                      </a:defRPr>
                    </a:pPr>
                    <a:r>
                      <a:t>134</a:t>
                    </a:r>
                  </a:p>
                </c:rich>
              </c:tx>
              <c:showLegendKey val="0"/>
              <c:showVal val="1"/>
              <c:showCatName val="0"/>
              <c:showSerName val="0"/>
              <c:showPercent val="0"/>
              <c:showBubbleSize val="0"/>
            </c:dLbl>
            <c:dLbl>
              <c:idx val="4"/>
              <c:tx>
                <c:rich>
                  <a:bodyPr/>
                  <a:lstStyle/>
                  <a:p>
                    <a:pPr>
                      <a:defRPr sz="800">
                        <a:latin typeface="Nexa Book (Body)"/>
                      </a:defRPr>
                    </a:pPr>
                    <a:r>
                      <a:t>74</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dLbl>
              <c:idx val="6"/>
              <c:tx>
                <c:rich>
                  <a:bodyPr/>
                  <a:lstStyle/>
                  <a:p>
                    <a:pPr>
                      <a:defRPr sz="800">
                        <a:latin typeface="Nexa Book (Body)"/>
                      </a:defRPr>
                    </a:pPr>
                    <a:r>
                      <a:t>6</a:t>
                    </a:r>
                  </a:p>
                </c:rich>
              </c:tx>
              <c:showLegendKey val="0"/>
              <c:showVal val="1"/>
              <c:showCatName val="0"/>
              <c:showSerName val="0"/>
              <c:showPercent val="0"/>
              <c:showBubbleSize val="0"/>
            </c:dLbl>
            <c:dLbl>
              <c:idx val="7"/>
              <c:tx>
                <c:rich>
                  <a:bodyPr/>
                  <a:lstStyle/>
                  <a:p>
                    <a:pPr>
                      <a:defRPr sz="800">
                        <a:latin typeface="Nexa Book (Body)"/>
                      </a:defRPr>
                    </a:pPr>
                    <a:r>
                      <a:t>2</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Rem Blades</c:v>
                </c:pt>
                <c:pt idx="6">
                  <c:v>6 Blade</c:v>
                </c:pt>
                <c:pt idx="7">
                  <c:v>1 Blade</c:v>
                </c:pt>
              </c:strCache>
            </c:strRef>
          </c:cat>
          <c:val>
            <c:numRef>
              <c:f>Sheet1!$B$2:$B$9</c:f>
              <c:numCache>
                <c:formatCode>General</c:formatCode>
                <c:ptCount val="8"/>
                <c:pt idx="0">
                  <c:v>1201.51489</c:v>
                </c:pt>
                <c:pt idx="1">
                  <c:v>612.67196</c:v>
                </c:pt>
                <c:pt idx="2">
                  <c:v>312.66579</c:v>
                </c:pt>
                <c:pt idx="3">
                  <c:v>134.35693</c:v>
                </c:pt>
                <c:pt idx="4">
                  <c:v>73.63447</c:v>
                </c:pt>
                <c:pt idx="5">
                  <c:v>60.56051</c:v>
                </c:pt>
                <c:pt idx="6">
                  <c:v>6.12178</c:v>
                </c:pt>
                <c:pt idx="7">
                  <c:v>1.5034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Rem Blades</c:v>
                </c:pt>
                <c:pt idx="6">
                  <c:v>6 Blade</c:v>
                </c:pt>
                <c:pt idx="7">
                  <c:v>1 Blade</c:v>
                </c:pt>
              </c:strCache>
            </c:strRef>
          </c:cat>
          <c:val>
            <c:numRef>
              <c:f>Sheet1!$B$2:$B$9</c:f>
              <c:numCache>
                <c:formatCode>General</c:formatCode>
                <c:ptCount val="8"/>
                <c:pt idx="0">
                  <c:v>1.69403</c:v>
                </c:pt>
                <c:pt idx="1">
                  <c:v>0.0</c:v>
                </c:pt>
                <c:pt idx="2">
                  <c:v>0.39573</c:v>
                </c:pt>
                <c:pt idx="3">
                  <c:v>1.15342</c:v>
                </c:pt>
                <c:pt idx="4">
                  <c:v>0.14488</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95</a:t>
                    </a:r>
                  </a:p>
                </c:rich>
              </c:tx>
              <c:showLegendKey val="0"/>
              <c:showVal val="1"/>
              <c:showCatName val="0"/>
              <c:showSerName val="0"/>
              <c:showPercent val="0"/>
              <c:showBubbleSize val="0"/>
            </c:dLbl>
            <c:dLbl>
              <c:idx val="2"/>
              <c:tx>
                <c:rich>
                  <a:bodyPr/>
                  <a:lstStyle/>
                  <a:p>
                    <a:pPr>
                      <a:defRPr sz="800">
                        <a:latin typeface="Nexa Book (Body)"/>
                      </a:defRPr>
                    </a:pPr>
                    <a:r>
                      <a:t>276</a:t>
                    </a:r>
                  </a:p>
                </c:rich>
              </c:tx>
              <c:showLegendKey val="0"/>
              <c:showVal val="1"/>
              <c:showCatName val="0"/>
              <c:showSerName val="0"/>
              <c:showPercent val="0"/>
              <c:showBubbleSize val="0"/>
            </c:dLbl>
            <c:dLbl>
              <c:idx val="3"/>
              <c:tx>
                <c:rich>
                  <a:bodyPr/>
                  <a:lstStyle/>
                  <a:p>
                    <a:pPr>
                      <a:defRPr sz="800">
                        <a:latin typeface="Nexa Book (Body)"/>
                      </a:defRPr>
                    </a:pPr>
                    <a:r>
                      <a:t>138</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1</a:t>
                    </a:r>
                  </a:p>
                </c:rich>
              </c:tx>
              <c:showLegendKey val="0"/>
              <c:showVal val="1"/>
              <c:showCatName val="0"/>
              <c:showSerName val="0"/>
              <c:showPercent val="0"/>
              <c:showBubbleSize val="0"/>
            </c:dLbl>
            <c:dLbl>
              <c:idx val="6"/>
              <c:tx>
                <c:rich>
                  <a:bodyPr/>
                  <a:lstStyle/>
                  <a:p>
                    <a:pPr>
                      <a:defRPr sz="800">
                        <a:latin typeface="Nexa Book (Body)"/>
                      </a:defRPr>
                    </a:pPr>
                    <a:r>
                      <a:t>8</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814.07062</c:v>
                </c:pt>
                <c:pt idx="1">
                  <c:v>295.46099</c:v>
                </c:pt>
                <c:pt idx="2">
                  <c:v>276.29591</c:v>
                </c:pt>
                <c:pt idx="3">
                  <c:v>138.40344</c:v>
                </c:pt>
                <c:pt idx="4">
                  <c:v>54.80306</c:v>
                </c:pt>
                <c:pt idx="5">
                  <c:v>41.28569</c:v>
                </c:pt>
                <c:pt idx="6">
                  <c:v>7.82153</c:v>
                </c:pt>
                <c:pt idx="7">
                  <c:v>0.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44</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43.7298</c:v>
                </c:pt>
                <c:pt idx="1">
                  <c:v>0.0</c:v>
                </c:pt>
                <c:pt idx="2">
                  <c:v>0.06803</c:v>
                </c:pt>
                <c:pt idx="3">
                  <c:v>43.66177</c:v>
                </c:pt>
                <c:pt idx="4">
                  <c:v>0.0</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449</a:t>
                    </a:r>
                  </a:p>
                </c:rich>
              </c:tx>
              <c:showLegendKey val="0"/>
              <c:showVal val="1"/>
              <c:showCatName val="0"/>
              <c:showSerName val="0"/>
              <c:showPercent val="0"/>
              <c:showBubbleSize val="0"/>
            </c:dLbl>
            <c:dLbl>
              <c:idx val="2"/>
              <c:tx>
                <c:rich>
                  <a:bodyPr/>
                  <a:lstStyle/>
                  <a:p>
                    <a:pPr>
                      <a:defRPr sz="800">
                        <a:latin typeface="Nexa Book (Body)"/>
                      </a:defRPr>
                    </a:pPr>
                    <a:r>
                      <a:t>286</a:t>
                    </a:r>
                  </a:p>
                </c:rich>
              </c:tx>
              <c:showLegendKey val="0"/>
              <c:showVal val="1"/>
              <c:showCatName val="0"/>
              <c:showSerName val="0"/>
              <c:showPercent val="0"/>
              <c:showBubbleSize val="0"/>
            </c:dLbl>
            <c:dLbl>
              <c:idx val="3"/>
              <c:tx>
                <c:rich>
                  <a:bodyPr/>
                  <a:lstStyle/>
                  <a:p>
                    <a:pPr>
                      <a:defRPr sz="800">
                        <a:latin typeface="Nexa Book (Body)"/>
                      </a:defRPr>
                    </a:pPr>
                    <a:r>
                      <a:t>66</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3</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4 Blade</c:v>
                </c:pt>
                <c:pt idx="4">
                  <c:v>2 Blade</c:v>
                </c:pt>
                <c:pt idx="5">
                  <c:v>Rem Blades</c:v>
                </c:pt>
                <c:pt idx="6">
                  <c:v>1 Blade</c:v>
                </c:pt>
              </c:strCache>
            </c:strRef>
          </c:cat>
          <c:val>
            <c:numRef>
              <c:f>Sheet1!$B$2:$B$8</c:f>
              <c:numCache>
                <c:formatCode>General</c:formatCode>
                <c:ptCount val="7"/>
                <c:pt idx="0">
                  <c:v>898.9509</c:v>
                </c:pt>
                <c:pt idx="1">
                  <c:v>448.56633</c:v>
                </c:pt>
                <c:pt idx="2">
                  <c:v>286.41803</c:v>
                </c:pt>
                <c:pt idx="3">
                  <c:v>66.20093</c:v>
                </c:pt>
                <c:pt idx="4">
                  <c:v>54.86285</c:v>
                </c:pt>
                <c:pt idx="5">
                  <c:v>42.59556</c:v>
                </c:pt>
                <c:pt idx="6">
                  <c:v>0.307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8</a:t>
                    </a:r>
                  </a:p>
                </c:rich>
              </c:tx>
              <c:showLegendKey val="0"/>
              <c:showVal val="1"/>
              <c:showCatName val="0"/>
              <c:showSerName val="0"/>
              <c:showPercent val="0"/>
              <c:showBubbleSize val="0"/>
            </c:dLbl>
            <c:dLbl>
              <c:idx val="1"/>
              <c:tx>
                <c:rich>
                  <a:bodyPr/>
                  <a:lstStyle/>
                  <a:p>
                    <a:pPr>
                      <a:defRPr sz="800">
                        <a:latin typeface="Nexa Book (Body)"/>
                      </a:defRPr>
                    </a:pPr>
                    <a:r>
                      <a:t>77</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4 Blade</c:v>
                </c:pt>
                <c:pt idx="4">
                  <c:v>2 Blade</c:v>
                </c:pt>
                <c:pt idx="5">
                  <c:v>Rem Blades</c:v>
                </c:pt>
                <c:pt idx="6">
                  <c:v>1 Blade</c:v>
                </c:pt>
              </c:strCache>
            </c:strRef>
          </c:cat>
          <c:val>
            <c:numRef>
              <c:f>Sheet1!$B$2:$B$8</c:f>
              <c:numCache>
                <c:formatCode>General</c:formatCode>
                <c:ptCount val="7"/>
                <c:pt idx="0">
                  <c:v>78.28707</c:v>
                </c:pt>
                <c:pt idx="1">
                  <c:v>76.88785</c:v>
                </c:pt>
                <c:pt idx="2">
                  <c:v>1.39922</c:v>
                </c:pt>
                <c:pt idx="3">
                  <c:v>0.0</c:v>
                </c:pt>
                <c:pt idx="4">
                  <c:v>0.0</c:v>
                </c:pt>
                <c:pt idx="5">
                  <c:v>0.0</c:v>
                </c:pt>
                <c:pt idx="6">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449</a:t>
                    </a:r>
                  </a:p>
                </c:rich>
              </c:tx>
              <c:showLegendKey val="0"/>
              <c:showVal val="1"/>
              <c:showCatName val="0"/>
              <c:showSerName val="0"/>
              <c:showPercent val="0"/>
              <c:showBubbleSize val="0"/>
            </c:dLbl>
            <c:dLbl>
              <c:idx val="2"/>
              <c:tx>
                <c:rich>
                  <a:bodyPr/>
                  <a:lstStyle/>
                  <a:p>
                    <a:pPr>
                      <a:defRPr sz="800">
                        <a:latin typeface="Nexa Book (Body)"/>
                      </a:defRPr>
                    </a:pPr>
                    <a:r>
                      <a:t>286</a:t>
                    </a:r>
                  </a:p>
                </c:rich>
              </c:tx>
              <c:showLegendKey val="0"/>
              <c:showVal val="1"/>
              <c:showCatName val="0"/>
              <c:showSerName val="0"/>
              <c:showPercent val="0"/>
              <c:showBubbleSize val="0"/>
            </c:dLbl>
            <c:dLbl>
              <c:idx val="3"/>
              <c:tx>
                <c:rich>
                  <a:bodyPr/>
                  <a:lstStyle/>
                  <a:p>
                    <a:pPr>
                      <a:defRPr sz="800">
                        <a:latin typeface="Nexa Book (Body)"/>
                      </a:defRPr>
                    </a:pPr>
                    <a:r>
                      <a:t>66</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3</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4 Blade</c:v>
                </c:pt>
                <c:pt idx="4">
                  <c:v>2 Blade</c:v>
                </c:pt>
                <c:pt idx="5">
                  <c:v>Rem Blades</c:v>
                </c:pt>
                <c:pt idx="6">
                  <c:v>1 Blade</c:v>
                </c:pt>
              </c:strCache>
            </c:strRef>
          </c:cat>
          <c:val>
            <c:numRef>
              <c:f>Sheet1!$B$2:$B$8</c:f>
              <c:numCache>
                <c:formatCode>General</c:formatCode>
                <c:ptCount val="7"/>
                <c:pt idx="0">
                  <c:v>898.9509</c:v>
                </c:pt>
                <c:pt idx="1">
                  <c:v>448.56633</c:v>
                </c:pt>
                <c:pt idx="2">
                  <c:v>286.41803</c:v>
                </c:pt>
                <c:pt idx="3">
                  <c:v>66.20093</c:v>
                </c:pt>
                <c:pt idx="4">
                  <c:v>54.86285</c:v>
                </c:pt>
                <c:pt idx="5">
                  <c:v>42.59556</c:v>
                </c:pt>
                <c:pt idx="6">
                  <c:v>0.307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6</a:t>
                    </a:r>
                  </a:p>
                </c:rich>
              </c:tx>
              <c:showLegendKey val="0"/>
              <c:showVal val="1"/>
              <c:showCatName val="0"/>
              <c:showSerName val="0"/>
              <c:showPercent val="0"/>
              <c:showBubbleSize val="0"/>
            </c:dLbl>
            <c:dLbl>
              <c:idx val="1"/>
              <c:tx>
                <c:rich>
                  <a:bodyPr/>
                  <a:lstStyle/>
                  <a:p>
                    <a:pPr>
                      <a:defRPr sz="800">
                        <a:latin typeface="Nexa Book (Body)"/>
                      </a:defRPr>
                    </a:pPr>
                    <a:r>
                      <a:t>13</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4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2</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4 Blade</c:v>
                </c:pt>
                <c:pt idx="4">
                  <c:v>2 Blade</c:v>
                </c:pt>
                <c:pt idx="5">
                  <c:v>Rem Blades</c:v>
                </c:pt>
                <c:pt idx="6">
                  <c:v>1 Blade</c:v>
                </c:pt>
              </c:strCache>
            </c:strRef>
          </c:cat>
          <c:val>
            <c:numRef>
              <c:f>Sheet1!$B$2:$B$8</c:f>
              <c:numCache>
                <c:formatCode>General</c:formatCode>
                <c:ptCount val="7"/>
                <c:pt idx="0">
                  <c:v>56.13289</c:v>
                </c:pt>
                <c:pt idx="1">
                  <c:v>13.47991</c:v>
                </c:pt>
                <c:pt idx="2">
                  <c:v>0.47286</c:v>
                </c:pt>
                <c:pt idx="3">
                  <c:v>39.9195</c:v>
                </c:pt>
                <c:pt idx="4">
                  <c:v>0.0</c:v>
                </c:pt>
                <c:pt idx="5">
                  <c:v>2.26062</c:v>
                </c:pt>
                <c:pt idx="6">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95</a:t>
                    </a:r>
                  </a:p>
                </c:rich>
              </c:tx>
              <c:showLegendKey val="0"/>
              <c:showVal val="1"/>
              <c:showCatName val="0"/>
              <c:showSerName val="0"/>
              <c:showPercent val="0"/>
              <c:showBubbleSize val="0"/>
            </c:dLbl>
            <c:dLbl>
              <c:idx val="2"/>
              <c:tx>
                <c:rich>
                  <a:bodyPr/>
                  <a:lstStyle/>
                  <a:p>
                    <a:pPr>
                      <a:defRPr sz="800">
                        <a:latin typeface="Nexa Book (Body)"/>
                      </a:defRPr>
                    </a:pPr>
                    <a:r>
                      <a:t>276</a:t>
                    </a:r>
                  </a:p>
                </c:rich>
              </c:tx>
              <c:showLegendKey val="0"/>
              <c:showVal val="1"/>
              <c:showCatName val="0"/>
              <c:showSerName val="0"/>
              <c:showPercent val="0"/>
              <c:showBubbleSize val="0"/>
            </c:dLbl>
            <c:dLbl>
              <c:idx val="3"/>
              <c:tx>
                <c:rich>
                  <a:bodyPr/>
                  <a:lstStyle/>
                  <a:p>
                    <a:pPr>
                      <a:defRPr sz="800">
                        <a:latin typeface="Nexa Book (Body)"/>
                      </a:defRPr>
                    </a:pPr>
                    <a:r>
                      <a:t>138</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1</a:t>
                    </a:r>
                  </a:p>
                </c:rich>
              </c:tx>
              <c:showLegendKey val="0"/>
              <c:showVal val="1"/>
              <c:showCatName val="0"/>
              <c:showSerName val="0"/>
              <c:showPercent val="0"/>
              <c:showBubbleSize val="0"/>
            </c:dLbl>
            <c:dLbl>
              <c:idx val="6"/>
              <c:tx>
                <c:rich>
                  <a:bodyPr/>
                  <a:lstStyle/>
                  <a:p>
                    <a:pPr>
                      <a:defRPr sz="800">
                        <a:latin typeface="Nexa Book (Body)"/>
                      </a:defRPr>
                    </a:pPr>
                    <a:r>
                      <a:t>8</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814.07062</c:v>
                </c:pt>
                <c:pt idx="1">
                  <c:v>295.46099</c:v>
                </c:pt>
                <c:pt idx="2">
                  <c:v>276.29591</c:v>
                </c:pt>
                <c:pt idx="3">
                  <c:v>138.40344</c:v>
                </c:pt>
                <c:pt idx="4">
                  <c:v>54.80306</c:v>
                </c:pt>
                <c:pt idx="5">
                  <c:v>41.28569</c:v>
                </c:pt>
                <c:pt idx="6">
                  <c:v>7.82153</c:v>
                </c:pt>
                <c:pt idx="7">
                  <c:v>0.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8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80.20859</c:v>
                </c:pt>
                <c:pt idx="1">
                  <c:v>0.00156</c:v>
                </c:pt>
                <c:pt idx="2">
                  <c:v>0.00192</c:v>
                </c:pt>
                <c:pt idx="3">
                  <c:v>80.20511</c:v>
                </c:pt>
                <c:pt idx="4">
                  <c:v>0.0</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186</a:t>
                    </a:r>
                  </a:p>
                </c:rich>
              </c:tx>
              <c:showLegendKey val="0"/>
              <c:showVal val="1"/>
              <c:showCatName val="0"/>
              <c:showSerName val="0"/>
              <c:showPercent val="0"/>
              <c:showBubbleSize val="0"/>
            </c:dLbl>
            <c:dLbl>
              <c:idx val="2"/>
              <c:tx>
                <c:rich>
                  <a:bodyPr/>
                  <a:lstStyle/>
                  <a:p>
                    <a:pPr>
                      <a:defRPr sz="800">
                        <a:latin typeface="Nexa Book (Body)"/>
                      </a:defRPr>
                    </a:pPr>
                    <a:r>
                      <a:t>140</a:t>
                    </a:r>
                  </a:p>
                </c:rich>
              </c:tx>
              <c:showLegendKey val="0"/>
              <c:showVal val="1"/>
              <c:showCatName val="0"/>
              <c:showSerName val="0"/>
              <c:showPercent val="0"/>
              <c:showBubbleSize val="0"/>
            </c:dLbl>
            <c:dLbl>
              <c:idx val="3"/>
              <c:tx>
                <c:rich>
                  <a:bodyPr/>
                  <a:lstStyle/>
                  <a:p>
                    <a:pPr>
                      <a:defRPr sz="800">
                        <a:latin typeface="Nexa Book (Body)"/>
                      </a:defRPr>
                    </a:pPr>
                    <a:r>
                      <a:t>56</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36</a:t>
                    </a:r>
                  </a:p>
                </c:rich>
              </c:tx>
              <c:showLegendKey val="0"/>
              <c:showVal val="1"/>
              <c:showCatName val="0"/>
              <c:showSerName val="0"/>
              <c:showPercent val="0"/>
              <c:showBubbleSize val="0"/>
            </c:dLbl>
            <c:dLbl>
              <c:idx val="6"/>
              <c:tx>
                <c:rich>
                  <a:bodyPr/>
                  <a:lstStyle/>
                  <a:p>
                    <a:pPr>
                      <a:defRPr sz="800">
                        <a:latin typeface="Nexa Book (Body)"/>
                      </a:defRPr>
                    </a:pPr>
                    <a:r>
                      <a:t>3</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475.20104</c:v>
                </c:pt>
                <c:pt idx="1">
                  <c:v>185.90964</c:v>
                </c:pt>
                <c:pt idx="2">
                  <c:v>140.39276</c:v>
                </c:pt>
                <c:pt idx="3">
                  <c:v>55.72568</c:v>
                </c:pt>
                <c:pt idx="4">
                  <c:v>54.8079</c:v>
                </c:pt>
                <c:pt idx="5">
                  <c:v>35.6176</c:v>
                </c:pt>
                <c:pt idx="6">
                  <c:v>2.74736</c:v>
                </c:pt>
                <c:pt idx="7">
                  <c:v>0.000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5</a:t>
                    </a:r>
                  </a:p>
                </c:rich>
              </c:tx>
              <c:showLegendKey val="0"/>
              <c:showVal val="1"/>
              <c:showCatName val="0"/>
              <c:showSerName val="0"/>
              <c:showPercent val="0"/>
              <c:showBubbleSize val="0"/>
            </c:dLbl>
            <c:dLbl>
              <c:idx val="1"/>
              <c:tx>
                <c:rich>
                  <a:bodyPr/>
                  <a:lstStyle/>
                  <a:p>
                    <a:pPr>
                      <a:defRPr sz="800">
                        <a:latin typeface="Nexa Book (Body)"/>
                      </a:defRPr>
                    </a:pPr>
                    <a:r>
                      <a:t>25</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24.99695</c:v>
                </c:pt>
                <c:pt idx="1">
                  <c:v>24.99695</c:v>
                </c:pt>
                <c:pt idx="2">
                  <c:v>0.0</c:v>
                </c:pt>
                <c:pt idx="3">
                  <c:v>0.0</c:v>
                </c:pt>
                <c:pt idx="4">
                  <c:v>0.0</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64</a:t>
                    </a:r>
                  </a:p>
                </c:rich>
              </c:tx>
              <c:showLegendKey val="0"/>
              <c:showVal val="1"/>
              <c:showCatName val="0"/>
              <c:showSerName val="0"/>
              <c:showPercent val="0"/>
              <c:showBubbleSize val="0"/>
            </c:dLbl>
            <c:dLbl>
              <c:idx val="2"/>
              <c:tx>
                <c:rich>
                  <a:bodyPr/>
                  <a:lstStyle/>
                  <a:p>
                    <a:pPr>
                      <a:defRPr sz="800">
                        <a:latin typeface="Nexa Book (Body)"/>
                      </a:defRPr>
                    </a:pPr>
                    <a:r>
                      <a:t>53</a:t>
                    </a:r>
                  </a:p>
                </c:rich>
              </c:tx>
              <c:showLegendKey val="0"/>
              <c:showVal val="1"/>
              <c:showCatName val="0"/>
              <c:showSerName val="0"/>
              <c:showPercent val="0"/>
              <c:showBubbleSize val="0"/>
            </c:dLbl>
            <c:dLbl>
              <c:idx val="3"/>
              <c:tx>
                <c:rich>
                  <a:bodyPr/>
                  <a:lstStyle/>
                  <a:p>
                    <a:pPr>
                      <a:defRPr sz="800">
                        <a:latin typeface="Nexa Book (Body)"/>
                      </a:defRPr>
                    </a:pPr>
                    <a:r>
                      <a:t>22</a:t>
                    </a:r>
                  </a:p>
                </c:rich>
              </c:tx>
              <c:showLegendKey val="0"/>
              <c:showVal val="1"/>
              <c:showCatName val="0"/>
              <c:showSerName val="0"/>
              <c:showPercent val="0"/>
              <c:showBubbleSize val="0"/>
            </c:dLbl>
            <c:dLbl>
              <c:idx val="4"/>
              <c:tx>
                <c:rich>
                  <a:bodyPr/>
                  <a:lstStyle/>
                  <a:p>
                    <a:pPr>
                      <a:defRPr sz="800">
                        <a:latin typeface="Nexa Book (Body)"/>
                      </a:defRPr>
                    </a:pPr>
                    <a:r>
                      <a:t>20</a:t>
                    </a:r>
                  </a:p>
                </c:rich>
              </c:tx>
              <c:showLegendKey val="0"/>
              <c:showVal val="1"/>
              <c:showCatName val="0"/>
              <c:showSerName val="0"/>
              <c:showPercent val="0"/>
              <c:showBubbleSize val="0"/>
            </c:dLbl>
            <c:dLbl>
              <c:idx val="5"/>
              <c:tx>
                <c:rich>
                  <a:bodyPr/>
                  <a:lstStyle/>
                  <a:p>
                    <a:pPr>
                      <a:defRPr sz="800">
                        <a:latin typeface="Nexa Book (Body)"/>
                      </a:defRPr>
                    </a:pPr>
                    <a:r>
                      <a:t>13</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2 Blade</c:v>
                </c:pt>
                <c:pt idx="4">
                  <c:v>4 Blade</c:v>
                </c:pt>
                <c:pt idx="5">
                  <c:v>1 Blade</c:v>
                </c:pt>
                <c:pt idx="6">
                  <c:v>Rem Blades</c:v>
                </c:pt>
              </c:strCache>
            </c:strRef>
          </c:cat>
          <c:val>
            <c:numRef>
              <c:f>Sheet1!$B$2:$B$8</c:f>
              <c:numCache>
                <c:formatCode>General</c:formatCode>
                <c:ptCount val="7"/>
                <c:pt idx="0">
                  <c:v>172.27134</c:v>
                </c:pt>
                <c:pt idx="1">
                  <c:v>64.39955</c:v>
                </c:pt>
                <c:pt idx="2">
                  <c:v>52.57737</c:v>
                </c:pt>
                <c:pt idx="3">
                  <c:v>21.67254</c:v>
                </c:pt>
                <c:pt idx="4">
                  <c:v>19.69493</c:v>
                </c:pt>
                <c:pt idx="5">
                  <c:v>13.42872</c:v>
                </c:pt>
                <c:pt idx="6">
                  <c:v>0.4982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r>
                      <a:t>1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2 Blade</c:v>
                </c:pt>
                <c:pt idx="4">
                  <c:v>4 Blade</c:v>
                </c:pt>
                <c:pt idx="5">
                  <c:v>1 Blade</c:v>
                </c:pt>
                <c:pt idx="6">
                  <c:v>Rem Blades</c:v>
                </c:pt>
              </c:strCache>
            </c:strRef>
          </c:cat>
          <c:val>
            <c:numRef>
              <c:f>Sheet1!$B$2:$B$8</c:f>
              <c:numCache>
                <c:formatCode>General</c:formatCode>
                <c:ptCount val="7"/>
                <c:pt idx="0">
                  <c:v>10.71286</c:v>
                </c:pt>
                <c:pt idx="1">
                  <c:v>10.71286</c:v>
                </c:pt>
                <c:pt idx="2">
                  <c:v>0.0</c:v>
                </c:pt>
                <c:pt idx="3">
                  <c:v>0.0</c:v>
                </c:pt>
                <c:pt idx="4">
                  <c:v>0.0</c:v>
                </c:pt>
                <c:pt idx="5">
                  <c:v>0.0</c:v>
                </c:pt>
                <c:pt idx="6">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64</a:t>
                    </a:r>
                  </a:p>
                </c:rich>
              </c:tx>
              <c:showLegendKey val="0"/>
              <c:showVal val="1"/>
              <c:showCatName val="0"/>
              <c:showSerName val="0"/>
              <c:showPercent val="0"/>
              <c:showBubbleSize val="0"/>
            </c:dLbl>
            <c:dLbl>
              <c:idx val="2"/>
              <c:tx>
                <c:rich>
                  <a:bodyPr/>
                  <a:lstStyle/>
                  <a:p>
                    <a:pPr>
                      <a:defRPr sz="800">
                        <a:latin typeface="Nexa Book (Body)"/>
                      </a:defRPr>
                    </a:pPr>
                    <a:r>
                      <a:t>53</a:t>
                    </a:r>
                  </a:p>
                </c:rich>
              </c:tx>
              <c:showLegendKey val="0"/>
              <c:showVal val="1"/>
              <c:showCatName val="0"/>
              <c:showSerName val="0"/>
              <c:showPercent val="0"/>
              <c:showBubbleSize val="0"/>
            </c:dLbl>
            <c:dLbl>
              <c:idx val="3"/>
              <c:tx>
                <c:rich>
                  <a:bodyPr/>
                  <a:lstStyle/>
                  <a:p>
                    <a:pPr>
                      <a:defRPr sz="800">
                        <a:latin typeface="Nexa Book (Body)"/>
                      </a:defRPr>
                    </a:pPr>
                    <a:r>
                      <a:t>22</a:t>
                    </a:r>
                  </a:p>
                </c:rich>
              </c:tx>
              <c:showLegendKey val="0"/>
              <c:showVal val="1"/>
              <c:showCatName val="0"/>
              <c:showSerName val="0"/>
              <c:showPercent val="0"/>
              <c:showBubbleSize val="0"/>
            </c:dLbl>
            <c:dLbl>
              <c:idx val="4"/>
              <c:tx>
                <c:rich>
                  <a:bodyPr/>
                  <a:lstStyle/>
                  <a:p>
                    <a:pPr>
                      <a:defRPr sz="800">
                        <a:latin typeface="Nexa Book (Body)"/>
                      </a:defRPr>
                    </a:pPr>
                    <a:r>
                      <a:t>20</a:t>
                    </a:r>
                  </a:p>
                </c:rich>
              </c:tx>
              <c:showLegendKey val="0"/>
              <c:showVal val="1"/>
              <c:showCatName val="0"/>
              <c:showSerName val="0"/>
              <c:showPercent val="0"/>
              <c:showBubbleSize val="0"/>
            </c:dLbl>
            <c:dLbl>
              <c:idx val="5"/>
              <c:tx>
                <c:rich>
                  <a:bodyPr/>
                  <a:lstStyle/>
                  <a:p>
                    <a:pPr>
                      <a:defRPr sz="800">
                        <a:latin typeface="Nexa Book (Body)"/>
                      </a:defRPr>
                    </a:pPr>
                    <a:r>
                      <a:t>13</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2 Blade</c:v>
                </c:pt>
                <c:pt idx="4">
                  <c:v>4 Blade</c:v>
                </c:pt>
                <c:pt idx="5">
                  <c:v>1 Blade</c:v>
                </c:pt>
                <c:pt idx="6">
                  <c:v>Rem Blades</c:v>
                </c:pt>
              </c:strCache>
            </c:strRef>
          </c:cat>
          <c:val>
            <c:numRef>
              <c:f>Sheet1!$B$2:$B$8</c:f>
              <c:numCache>
                <c:formatCode>General</c:formatCode>
                <c:ptCount val="7"/>
                <c:pt idx="0">
                  <c:v>172.27134</c:v>
                </c:pt>
                <c:pt idx="1">
                  <c:v>64.39955</c:v>
                </c:pt>
                <c:pt idx="2">
                  <c:v>52.57737</c:v>
                </c:pt>
                <c:pt idx="3">
                  <c:v>21.67254</c:v>
                </c:pt>
                <c:pt idx="4">
                  <c:v>19.69493</c:v>
                </c:pt>
                <c:pt idx="5">
                  <c:v>13.42872</c:v>
                </c:pt>
                <c:pt idx="6">
                  <c:v>0.4982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5</a:t>
                    </a:r>
                  </a:p>
                </c:rich>
              </c:tx>
              <c:showLegendKey val="0"/>
              <c:showVal val="1"/>
              <c:showCatName val="0"/>
              <c:showSerName val="0"/>
              <c:showPercent val="0"/>
              <c:showBubbleSize val="0"/>
            </c:dLbl>
            <c:dLbl>
              <c:idx val="1"/>
              <c:tx>
                <c:rich>
                  <a:bodyPr/>
                  <a:lstStyle/>
                  <a:p>
                    <a:pPr>
                      <a:defRPr sz="800">
                        <a:latin typeface="Nexa Book (Body)"/>
                      </a:defRPr>
                    </a:pPr>
                    <a:r>
                      <a:t>1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4</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2 Blade</c:v>
                </c:pt>
                <c:pt idx="4">
                  <c:v>4 Blade</c:v>
                </c:pt>
                <c:pt idx="5">
                  <c:v>1 Blade</c:v>
                </c:pt>
                <c:pt idx="6">
                  <c:v>Rem Blades</c:v>
                </c:pt>
              </c:strCache>
            </c:strRef>
          </c:cat>
          <c:val>
            <c:numRef>
              <c:f>Sheet1!$B$2:$B$8</c:f>
              <c:numCache>
                <c:formatCode>General</c:formatCode>
                <c:ptCount val="7"/>
                <c:pt idx="0">
                  <c:v>14.9137</c:v>
                </c:pt>
                <c:pt idx="1">
                  <c:v>10.53505</c:v>
                </c:pt>
                <c:pt idx="2">
                  <c:v>0.0</c:v>
                </c:pt>
                <c:pt idx="3">
                  <c:v>0.0</c:v>
                </c:pt>
                <c:pt idx="4">
                  <c:v>0.0</c:v>
                </c:pt>
                <c:pt idx="5">
                  <c:v>4.37865</c:v>
                </c:pt>
                <c:pt idx="6">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95</a:t>
                    </a:r>
                  </a:p>
                </c:rich>
              </c:tx>
              <c:showLegendKey val="0"/>
              <c:showVal val="1"/>
              <c:showCatName val="0"/>
              <c:showSerName val="0"/>
              <c:showPercent val="0"/>
              <c:showBubbleSize val="0"/>
            </c:dLbl>
            <c:dLbl>
              <c:idx val="2"/>
              <c:tx>
                <c:rich>
                  <a:bodyPr/>
                  <a:lstStyle/>
                  <a:p>
                    <a:pPr>
                      <a:defRPr sz="800">
                        <a:latin typeface="Nexa Book (Body)"/>
                      </a:defRPr>
                    </a:pPr>
                    <a:r>
                      <a:t>796</a:t>
                    </a:r>
                  </a:p>
                </c:rich>
              </c:tx>
              <c:showLegendKey val="0"/>
              <c:showVal val="1"/>
              <c:showCatName val="0"/>
              <c:showSerName val="0"/>
              <c:showPercent val="0"/>
              <c:showBubbleSize val="0"/>
            </c:dLbl>
            <c:dLbl>
              <c:idx val="3"/>
              <c:tx>
                <c:rich>
                  <a:bodyPr/>
                  <a:lstStyle/>
                  <a:p>
                    <a:pPr>
                      <a:defRPr sz="800">
                        <a:latin typeface="Nexa Book (Body)"/>
                      </a:defRPr>
                    </a:pPr>
                    <a:r>
                      <a:t>381</a:t>
                    </a:r>
                  </a:p>
                </c:rich>
              </c:tx>
              <c:showLegendKey val="0"/>
              <c:showVal val="1"/>
              <c:showCatName val="0"/>
              <c:showSerName val="0"/>
              <c:showPercent val="0"/>
              <c:showBubbleSize val="0"/>
            </c:dLbl>
            <c:dLbl>
              <c:idx val="4"/>
              <c:tx>
                <c:rich>
                  <a:bodyPr/>
                  <a:lstStyle/>
                  <a:p>
                    <a:pPr>
                      <a:defRPr sz="800">
                        <a:latin typeface="Nexa Book (Body)"/>
                      </a:defRPr>
                    </a:pPr>
                    <a:r>
                      <a:t>297</a:t>
                    </a:r>
                  </a:p>
                </c:rich>
              </c:tx>
              <c:showLegendKey val="0"/>
              <c:showVal val="1"/>
              <c:showCatName val="0"/>
              <c:showSerName val="0"/>
              <c:showPercent val="0"/>
              <c:showBubbleSize val="0"/>
            </c:dLbl>
            <c:dLbl>
              <c:idx val="5"/>
              <c:tx>
                <c:rich>
                  <a:bodyPr/>
                  <a:lstStyle/>
                  <a:p>
                    <a:pPr>
                      <a:defRPr sz="800">
                        <a:latin typeface="Nexa Book (Body)"/>
                      </a:defRPr>
                    </a:pPr>
                    <a:r>
                      <a:t>235</a:t>
                    </a:r>
                  </a:p>
                </c:rich>
              </c:tx>
              <c:showLegendKey val="0"/>
              <c:showVal val="1"/>
              <c:showCatName val="0"/>
              <c:showSerName val="0"/>
              <c:showPercent val="0"/>
              <c:showBubbleSize val="0"/>
            </c:dLbl>
            <c:dLbl>
              <c:idx val="6"/>
              <c:tx>
                <c:rich>
                  <a:bodyPr/>
                  <a:lstStyle/>
                  <a:p>
                    <a:pPr>
                      <a:defRPr sz="800">
                        <a:latin typeface="Nexa Book (Body)"/>
                      </a:defRPr>
                    </a:pPr>
                    <a:r>
                      <a:t>42</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3145.98094</c:v>
                </c:pt>
                <c:pt idx="1">
                  <c:v>1395.27367</c:v>
                </c:pt>
                <c:pt idx="2">
                  <c:v>796.16315</c:v>
                </c:pt>
                <c:pt idx="3">
                  <c:v>381.21531</c:v>
                </c:pt>
                <c:pt idx="4">
                  <c:v>297.0118</c:v>
                </c:pt>
                <c:pt idx="5">
                  <c:v>234.76875</c:v>
                </c:pt>
                <c:pt idx="6">
                  <c:v>41.54806</c:v>
                </c:pt>
                <c:pt idx="7">
                  <c:v>0.000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44</a:t>
                    </a:r>
                  </a:p>
                </c:rich>
              </c:tx>
              <c:showLegendKey val="0"/>
              <c:showVal val="1"/>
              <c:showCatName val="0"/>
              <c:showSerName val="0"/>
              <c:showPercent val="0"/>
              <c:showBubbleSize val="0"/>
            </c:dLbl>
            <c:dLbl>
              <c:idx val="1"/>
              <c:tx>
                <c:rich>
                  <a:bodyPr/>
                  <a:lstStyle/>
                  <a:p>
                    <a:pPr>
                      <a:defRPr sz="800">
                        <a:latin typeface="Nexa Book (Body)"/>
                      </a:defRPr>
                    </a:pPr>
                    <a:r>
                      <a:t>176</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69</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244.49449</c:v>
                </c:pt>
                <c:pt idx="1">
                  <c:v>175.91439</c:v>
                </c:pt>
                <c:pt idx="2">
                  <c:v>0.00123</c:v>
                </c:pt>
                <c:pt idx="3">
                  <c:v>0.0</c:v>
                </c:pt>
                <c:pt idx="4">
                  <c:v>0.0</c:v>
                </c:pt>
                <c:pt idx="5">
                  <c:v>68.57887</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95</a:t>
                    </a:r>
                  </a:p>
                </c:rich>
              </c:tx>
              <c:showLegendKey val="0"/>
              <c:showVal val="1"/>
              <c:showCatName val="0"/>
              <c:showSerName val="0"/>
              <c:showPercent val="0"/>
              <c:showBubbleSize val="0"/>
            </c:dLbl>
            <c:dLbl>
              <c:idx val="2"/>
              <c:tx>
                <c:rich>
                  <a:bodyPr/>
                  <a:lstStyle/>
                  <a:p>
                    <a:pPr>
                      <a:defRPr sz="800">
                        <a:latin typeface="Nexa Book (Body)"/>
                      </a:defRPr>
                    </a:pPr>
                    <a:r>
                      <a:t>796</a:t>
                    </a:r>
                  </a:p>
                </c:rich>
              </c:tx>
              <c:showLegendKey val="0"/>
              <c:showVal val="1"/>
              <c:showCatName val="0"/>
              <c:showSerName val="0"/>
              <c:showPercent val="0"/>
              <c:showBubbleSize val="0"/>
            </c:dLbl>
            <c:dLbl>
              <c:idx val="3"/>
              <c:tx>
                <c:rich>
                  <a:bodyPr/>
                  <a:lstStyle/>
                  <a:p>
                    <a:pPr>
                      <a:defRPr sz="800">
                        <a:latin typeface="Nexa Book (Body)"/>
                      </a:defRPr>
                    </a:pPr>
                    <a:r>
                      <a:t>381</a:t>
                    </a:r>
                  </a:p>
                </c:rich>
              </c:tx>
              <c:showLegendKey val="0"/>
              <c:showVal val="1"/>
              <c:showCatName val="0"/>
              <c:showSerName val="0"/>
              <c:showPercent val="0"/>
              <c:showBubbleSize val="0"/>
            </c:dLbl>
            <c:dLbl>
              <c:idx val="4"/>
              <c:tx>
                <c:rich>
                  <a:bodyPr/>
                  <a:lstStyle/>
                  <a:p>
                    <a:pPr>
                      <a:defRPr sz="800">
                        <a:latin typeface="Nexa Book (Body)"/>
                      </a:defRPr>
                    </a:pPr>
                    <a:r>
                      <a:t>297</a:t>
                    </a:r>
                  </a:p>
                </c:rich>
              </c:tx>
              <c:showLegendKey val="0"/>
              <c:showVal val="1"/>
              <c:showCatName val="0"/>
              <c:showSerName val="0"/>
              <c:showPercent val="0"/>
              <c:showBubbleSize val="0"/>
            </c:dLbl>
            <c:dLbl>
              <c:idx val="5"/>
              <c:tx>
                <c:rich>
                  <a:bodyPr/>
                  <a:lstStyle/>
                  <a:p>
                    <a:pPr>
                      <a:defRPr sz="800">
                        <a:latin typeface="Nexa Book (Body)"/>
                      </a:defRPr>
                    </a:pPr>
                    <a:r>
                      <a:t>235</a:t>
                    </a:r>
                  </a:p>
                </c:rich>
              </c:tx>
              <c:showLegendKey val="0"/>
              <c:showVal val="1"/>
              <c:showCatName val="0"/>
              <c:showSerName val="0"/>
              <c:showPercent val="0"/>
              <c:showBubbleSize val="0"/>
            </c:dLbl>
            <c:dLbl>
              <c:idx val="6"/>
              <c:tx>
                <c:rich>
                  <a:bodyPr/>
                  <a:lstStyle/>
                  <a:p>
                    <a:pPr>
                      <a:defRPr sz="800">
                        <a:latin typeface="Nexa Book (Body)"/>
                      </a:defRPr>
                    </a:pPr>
                    <a:r>
                      <a:t>42</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3145.98094</c:v>
                </c:pt>
                <c:pt idx="1">
                  <c:v>1395.27367</c:v>
                </c:pt>
                <c:pt idx="2">
                  <c:v>796.16315</c:v>
                </c:pt>
                <c:pt idx="3">
                  <c:v>381.21531</c:v>
                </c:pt>
                <c:pt idx="4">
                  <c:v>297.0118</c:v>
                </c:pt>
                <c:pt idx="5">
                  <c:v>234.76875</c:v>
                </c:pt>
                <c:pt idx="6">
                  <c:v>41.54806</c:v>
                </c:pt>
                <c:pt idx="7">
                  <c:v>0.000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44</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43.99627</c:v>
                </c:pt>
                <c:pt idx="1">
                  <c:v>0.0</c:v>
                </c:pt>
                <c:pt idx="2">
                  <c:v>0.00125</c:v>
                </c:pt>
                <c:pt idx="3">
                  <c:v>43.81121</c:v>
                </c:pt>
                <c:pt idx="4">
                  <c:v>0.18372</c:v>
                </c:pt>
                <c:pt idx="5">
                  <c:v>0.0</c:v>
                </c:pt>
                <c:pt idx="6">
                  <c:v>9e-05</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164</a:t>
                    </a:r>
                  </a:p>
                </c:rich>
              </c:tx>
              <c:showLegendKey val="0"/>
              <c:showVal val="1"/>
              <c:showCatName val="0"/>
              <c:showSerName val="0"/>
              <c:showPercent val="0"/>
              <c:showBubbleSize val="0"/>
            </c:dLbl>
            <c:dLbl>
              <c:idx val="2"/>
              <c:tx>
                <c:rich>
                  <a:bodyPr/>
                  <a:lstStyle/>
                  <a:p>
                    <a:pPr>
                      <a:defRPr sz="800">
                        <a:latin typeface="Nexa Book (Body)"/>
                      </a:defRPr>
                    </a:pPr>
                    <a:r>
                      <a:t>68</a:t>
                    </a:r>
                  </a:p>
                </c:rich>
              </c:tx>
              <c:showLegendKey val="0"/>
              <c:showVal val="1"/>
              <c:showCatName val="0"/>
              <c:showSerName val="0"/>
              <c:showPercent val="0"/>
              <c:showBubbleSize val="0"/>
            </c:dLbl>
            <c:dLbl>
              <c:idx val="3"/>
              <c:tx>
                <c:rich>
                  <a:bodyPr/>
                  <a:lstStyle/>
                  <a:p>
                    <a:pPr>
                      <a:defRPr sz="800">
                        <a:latin typeface="Nexa Book (Body)"/>
                      </a:defRPr>
                    </a:pPr>
                    <a:r>
                      <a:t>26</a:t>
                    </a:r>
                  </a:p>
                </c:rich>
              </c:tx>
              <c:showLegendKey val="0"/>
              <c:showVal val="1"/>
              <c:showCatName val="0"/>
              <c:showSerName val="0"/>
              <c:showPercent val="0"/>
              <c:showBubbleSize val="0"/>
            </c:dLbl>
            <c:dLbl>
              <c:idx val="4"/>
              <c:tx>
                <c:rich>
                  <a:bodyPr/>
                  <a:lstStyle/>
                  <a:p>
                    <a:pPr>
                      <a:defRPr sz="800">
                        <a:latin typeface="Nexa Book (Body)"/>
                      </a:defRPr>
                    </a:pPr>
                    <a:r>
                      <a:t>19</a:t>
                    </a:r>
                  </a:p>
                </c:rich>
              </c:tx>
              <c:showLegendKey val="0"/>
              <c:showVal val="1"/>
              <c:showCatName val="0"/>
              <c:showSerName val="0"/>
              <c:showPercent val="0"/>
              <c:showBubbleSize val="0"/>
            </c:dLbl>
            <c:dLbl>
              <c:idx val="5"/>
              <c:tx>
                <c:rich>
                  <a:bodyPr/>
                  <a:lstStyle/>
                  <a:p>
                    <a:pPr>
                      <a:defRPr sz="800">
                        <a:latin typeface="Nexa Book (Body)"/>
                      </a:defRPr>
                    </a:pPr>
                    <a:r>
                      <a:t>18</a:t>
                    </a:r>
                  </a:p>
                </c:rich>
              </c:tx>
              <c:showLegendKey val="0"/>
              <c:showVal val="1"/>
              <c:showCatName val="0"/>
              <c:showSerName val="0"/>
              <c:showPercent val="0"/>
              <c:showBubbleSize val="0"/>
            </c:dLbl>
            <c:dLbl>
              <c:idx val="6"/>
              <c:tx>
                <c:rich>
                  <a:bodyPr/>
                  <a:lstStyle/>
                  <a:p>
                    <a:pPr>
                      <a:defRPr sz="800">
                        <a:latin typeface="Nexa Book (Body)"/>
                      </a:defRPr>
                    </a:pPr>
                    <a:r>
                      <a:t>6</a:t>
                    </a:r>
                  </a:p>
                </c:rich>
              </c:tx>
              <c:showLegendKey val="0"/>
              <c:showVal val="1"/>
              <c:showCatName val="0"/>
              <c:showSerName val="0"/>
              <c:showPercent val="0"/>
              <c:showBubbleSize val="0"/>
            </c:dLbl>
            <c:dLbl>
              <c:idx val="7"/>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4 Blade</c:v>
                </c:pt>
                <c:pt idx="3">
                  <c:v>3 Blade</c:v>
                </c:pt>
                <c:pt idx="4">
                  <c:v>2 Blade</c:v>
                </c:pt>
                <c:pt idx="5">
                  <c:v>Rem Blades</c:v>
                </c:pt>
                <c:pt idx="6">
                  <c:v>6 Blade</c:v>
                </c:pt>
                <c:pt idx="7">
                  <c:v>1 Blade</c:v>
                </c:pt>
              </c:strCache>
            </c:strRef>
          </c:cat>
          <c:val>
            <c:numRef>
              <c:f>Sheet1!$B$2:$B$9</c:f>
              <c:numCache>
                <c:formatCode>General</c:formatCode>
                <c:ptCount val="8"/>
                <c:pt idx="0">
                  <c:v>302.56399</c:v>
                </c:pt>
                <c:pt idx="1">
                  <c:v>164.10563</c:v>
                </c:pt>
                <c:pt idx="2">
                  <c:v>68.156</c:v>
                </c:pt>
                <c:pt idx="3">
                  <c:v>26.24776</c:v>
                </c:pt>
                <c:pt idx="4">
                  <c:v>18.77162</c:v>
                </c:pt>
                <c:pt idx="5">
                  <c:v>17.96495</c:v>
                </c:pt>
                <c:pt idx="6">
                  <c:v>6.12178</c:v>
                </c:pt>
                <c:pt idx="7">
                  <c:v>1.1962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4 Blade</c:v>
                </c:pt>
                <c:pt idx="3">
                  <c:v>3 Blade</c:v>
                </c:pt>
                <c:pt idx="4">
                  <c:v>2 Blade</c:v>
                </c:pt>
                <c:pt idx="5">
                  <c:v>Rem Blades</c:v>
                </c:pt>
                <c:pt idx="6">
                  <c:v>6 Blade</c:v>
                </c:pt>
                <c:pt idx="7">
                  <c:v>1 Blade</c:v>
                </c:pt>
              </c:strCache>
            </c:strRef>
          </c:cat>
          <c:val>
            <c:numRef>
              <c:f>Sheet1!$B$2:$B$9</c:f>
              <c:numCache>
                <c:formatCode>General</c:formatCode>
                <c:ptCount val="8"/>
                <c:pt idx="0">
                  <c:v>1.16891</c:v>
                </c:pt>
                <c:pt idx="1">
                  <c:v>0.0</c:v>
                </c:pt>
                <c:pt idx="2">
                  <c:v>0.63149</c:v>
                </c:pt>
                <c:pt idx="3">
                  <c:v>0.39527</c:v>
                </c:pt>
                <c:pt idx="4">
                  <c:v>0.14215</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7707</a:t>
                    </a:r>
                  </a:p>
                </c:rich>
              </c:tx>
              <c:showLegendKey val="0"/>
              <c:showVal val="1"/>
              <c:showCatName val="0"/>
              <c:showSerName val="0"/>
              <c:showPercent val="0"/>
              <c:showBubbleSize val="0"/>
            </c:dLbl>
            <c:dLbl>
              <c:idx val="2"/>
              <c:tx>
                <c:rich>
                  <a:bodyPr/>
                  <a:lstStyle/>
                  <a:p>
                    <a:pPr>
                      <a:defRPr sz="800">
                        <a:latin typeface="Nexa Book (Body)"/>
                      </a:defRPr>
                    </a:pPr>
                    <a:r>
                      <a:t>3040</a:t>
                    </a:r>
                  </a:p>
                </c:rich>
              </c:tx>
              <c:showLegendKey val="0"/>
              <c:showVal val="1"/>
              <c:showCatName val="0"/>
              <c:showSerName val="0"/>
              <c:showPercent val="0"/>
              <c:showBubbleSize val="0"/>
            </c:dLbl>
            <c:dLbl>
              <c:idx val="3"/>
              <c:tx>
                <c:rich>
                  <a:bodyPr/>
                  <a:lstStyle/>
                  <a:p>
                    <a:pPr>
                      <a:defRPr sz="800">
                        <a:latin typeface="Nexa Book (Body)"/>
                      </a:defRPr>
                    </a:pPr>
                    <a:r>
                      <a:t>1213</a:t>
                    </a:r>
                  </a:p>
                </c:rich>
              </c:tx>
              <c:showLegendKey val="0"/>
              <c:showVal val="1"/>
              <c:showCatName val="0"/>
              <c:showSerName val="0"/>
              <c:showPercent val="0"/>
              <c:showBubbleSize val="0"/>
            </c:dLbl>
            <c:dLbl>
              <c:idx val="4"/>
              <c:tx>
                <c:rich>
                  <a:bodyPr/>
                  <a:lstStyle/>
                  <a:p>
                    <a:pPr>
                      <a:defRPr sz="800">
                        <a:latin typeface="Nexa Book (Body)"/>
                      </a:defRPr>
                    </a:pPr>
                    <a:r>
                      <a:t>19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2157.80027</c:v>
                </c:pt>
                <c:pt idx="1">
                  <c:v>7707.25832</c:v>
                </c:pt>
                <c:pt idx="2">
                  <c:v>3039.75026</c:v>
                </c:pt>
                <c:pt idx="3">
                  <c:v>1212.57015</c:v>
                </c:pt>
                <c:pt idx="4">
                  <c:v>198.2215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730</a:t>
                    </a:r>
                  </a:p>
                </c:rich>
              </c:tx>
              <c:showLegendKey val="0"/>
              <c:showVal val="1"/>
              <c:showCatName val="0"/>
              <c:showSerName val="0"/>
              <c:showPercent val="0"/>
              <c:showBubbleSize val="0"/>
            </c:dLbl>
            <c:dLbl>
              <c:idx val="1"/>
              <c:tx>
                <c:rich>
                  <a:bodyPr/>
                  <a:lstStyle/>
                  <a:p>
                    <a:pPr>
                      <a:defRPr sz="800">
                        <a:latin typeface="Nexa Book (Body)"/>
                      </a:defRPr>
                    </a:pPr>
                    <a:r>
                      <a:t>1077</a:t>
                    </a:r>
                  </a:p>
                </c:rich>
              </c:tx>
              <c:showLegendKey val="0"/>
              <c:showVal val="1"/>
              <c:showCatName val="0"/>
              <c:showSerName val="0"/>
              <c:showPercent val="0"/>
              <c:showBubbleSize val="0"/>
            </c:dLbl>
            <c:dLbl>
              <c:idx val="2"/>
              <c:tx>
                <c:rich>
                  <a:bodyPr/>
                  <a:lstStyle/>
                  <a:p>
                    <a:pPr>
                      <a:defRPr sz="800">
                        <a:latin typeface="Nexa Book (Body)"/>
                      </a:defRPr>
                    </a:pPr>
                    <a:r>
                      <a:t>965</a:t>
                    </a:r>
                  </a:p>
                </c:rich>
              </c:tx>
              <c:showLegendKey val="0"/>
              <c:showVal val="1"/>
              <c:showCatName val="0"/>
              <c:showSerName val="0"/>
              <c:showPercent val="0"/>
              <c:showBubbleSize val="0"/>
            </c:dLbl>
            <c:dLbl>
              <c:idx val="3"/>
              <c:tx>
                <c:rich>
                  <a:bodyPr/>
                  <a:lstStyle/>
                  <a:p>
                    <a:pPr>
                      <a:defRPr sz="800">
                        <a:latin typeface="Nexa Book (Body)"/>
                      </a:defRPr>
                    </a:pPr>
                    <a:r>
                      <a:t>489</a:t>
                    </a:r>
                  </a:p>
                </c:rich>
              </c:tx>
              <c:showLegendKey val="0"/>
              <c:showVal val="1"/>
              <c:showCatName val="0"/>
              <c:showSerName val="0"/>
              <c:showPercent val="0"/>
              <c:showBubbleSize val="0"/>
            </c:dLbl>
            <c:dLbl>
              <c:idx val="4"/>
              <c:tx>
                <c:rich>
                  <a:bodyPr/>
                  <a:lstStyle/>
                  <a:p>
                    <a:pPr>
                      <a:defRPr sz="800">
                        <a:latin typeface="Nexa Book (Body)"/>
                      </a:defRPr>
                    </a:pPr>
                    <a:r>
                      <a:t>19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729.589</c:v>
                </c:pt>
                <c:pt idx="1">
                  <c:v>1077.29795</c:v>
                </c:pt>
                <c:pt idx="2">
                  <c:v>964.75767</c:v>
                </c:pt>
                <c:pt idx="3">
                  <c:v>489.31184</c:v>
                </c:pt>
                <c:pt idx="4">
                  <c:v>198.22154</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310</a:t>
                    </a:r>
                  </a:p>
                </c:rich>
              </c:tx>
              <c:showLegendKey val="0"/>
              <c:showVal val="1"/>
              <c:showCatName val="0"/>
              <c:showSerName val="0"/>
              <c:showPercent val="0"/>
              <c:showBubbleSize val="0"/>
            </c:dLbl>
            <c:dLbl>
              <c:idx val="2"/>
              <c:tx>
                <c:rich>
                  <a:bodyPr/>
                  <a:lstStyle/>
                  <a:p>
                    <a:pPr>
                      <a:defRPr sz="800">
                        <a:latin typeface="Nexa Book (Body)"/>
                      </a:defRPr>
                    </a:pPr>
                    <a:r>
                      <a:t>109</a:t>
                    </a:r>
                  </a:p>
                </c:rich>
              </c:tx>
              <c:showLegendKey val="0"/>
              <c:showVal val="1"/>
              <c:showCatName val="0"/>
              <c:showSerName val="0"/>
              <c:showPercent val="0"/>
              <c:showBubbleSize val="0"/>
            </c:dLbl>
            <c:dLbl>
              <c:idx val="3"/>
              <c:tx>
                <c:rich>
                  <a:bodyPr/>
                  <a:lstStyle/>
                  <a:p>
                    <a:pPr>
                      <a:defRPr sz="800">
                        <a:latin typeface="Nexa Book (Body)"/>
                      </a:defRPr>
                    </a:pPr>
                    <a:r>
                      <a:t>48</a:t>
                    </a:r>
                  </a:p>
                </c:rich>
              </c:tx>
              <c:showLegendKey val="0"/>
              <c:showVal val="1"/>
              <c:showCatName val="0"/>
              <c:showSerName val="0"/>
              <c:showPercent val="0"/>
              <c:showBubbleSize val="0"/>
            </c:dLbl>
            <c:dLbl>
              <c:idx val="4"/>
              <c:tx>
                <c:rich>
                  <a:bodyPr/>
                  <a:lstStyle/>
                  <a:p>
                    <a:pPr>
                      <a:defRPr sz="800">
                        <a:latin typeface="Nexa Book (Body)"/>
                      </a:defRPr>
                    </a:pPr>
                    <a:r>
                      <a:t>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475.20104</c:v>
                </c:pt>
                <c:pt idx="1">
                  <c:v>310.18165</c:v>
                </c:pt>
                <c:pt idx="2">
                  <c:v>108.7827</c:v>
                </c:pt>
                <c:pt idx="3">
                  <c:v>48.40828</c:v>
                </c:pt>
                <c:pt idx="4">
                  <c:v>7.8284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02</a:t>
                    </a:r>
                  </a:p>
                </c:rich>
              </c:tx>
              <c:showLegendKey val="0"/>
              <c:showVal val="1"/>
              <c:showCatName val="0"/>
              <c:showSerName val="0"/>
              <c:showPercent val="0"/>
              <c:showBubbleSize val="0"/>
            </c:dLbl>
            <c:dLbl>
              <c:idx val="1"/>
              <c:tx>
                <c:rich>
                  <a:bodyPr/>
                  <a:lstStyle/>
                  <a:p>
                    <a:pPr>
                      <a:defRPr sz="800">
                        <a:latin typeface="Nexa Book (Body)"/>
                      </a:defRPr>
                    </a:pPr>
                    <a:r>
                      <a:t>34</a:t>
                    </a:r>
                  </a:p>
                </c:rich>
              </c:tx>
              <c:showLegendKey val="0"/>
              <c:showVal val="1"/>
              <c:showCatName val="0"/>
              <c:showSerName val="0"/>
              <c:showPercent val="0"/>
              <c:showBubbleSize val="0"/>
            </c:dLbl>
            <c:dLbl>
              <c:idx val="2"/>
              <c:tx>
                <c:rich>
                  <a:bodyPr/>
                  <a:lstStyle/>
                  <a:p>
                    <a:pPr>
                      <a:defRPr sz="800">
                        <a:latin typeface="Nexa Book (Body)"/>
                      </a:defRPr>
                    </a:pPr>
                    <a:r>
                      <a:t>39</a:t>
                    </a:r>
                  </a:p>
                </c:rich>
              </c:tx>
              <c:showLegendKey val="0"/>
              <c:showVal val="1"/>
              <c:showCatName val="0"/>
              <c:showSerName val="0"/>
              <c:showPercent val="0"/>
              <c:showBubbleSize val="0"/>
            </c:dLbl>
            <c:dLbl>
              <c:idx val="3"/>
              <c:tx>
                <c:rich>
                  <a:bodyPr/>
                  <a:lstStyle/>
                  <a:p>
                    <a:pPr>
                      <a:defRPr sz="800">
                        <a:latin typeface="Nexa Book (Body)"/>
                      </a:defRPr>
                    </a:pPr>
                    <a:r>
                      <a:t>21</a:t>
                    </a:r>
                  </a:p>
                </c:rich>
              </c:tx>
              <c:showLegendKey val="0"/>
              <c:showVal val="1"/>
              <c:showCatName val="0"/>
              <c:showSerName val="0"/>
              <c:showPercent val="0"/>
              <c:showBubbleSize val="0"/>
            </c:dLbl>
            <c:dLbl>
              <c:idx val="4"/>
              <c:tx>
                <c:rich>
                  <a:bodyPr/>
                  <a:lstStyle/>
                  <a:p>
                    <a:pPr>
                      <a:defRPr sz="800">
                        <a:latin typeface="Nexa Book (Body)"/>
                      </a:defRPr>
                    </a:pPr>
                    <a:r>
                      <a:t>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02.04424</c:v>
                </c:pt>
                <c:pt idx="1">
                  <c:v>34.03703</c:v>
                </c:pt>
                <c:pt idx="2">
                  <c:v>39.16879</c:v>
                </c:pt>
                <c:pt idx="3">
                  <c:v>21.01001</c:v>
                </c:pt>
                <c:pt idx="4">
                  <c:v>7.82841</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7707</a:t>
                    </a:r>
                  </a:p>
                </c:rich>
              </c:tx>
              <c:showLegendKey val="0"/>
              <c:showVal val="1"/>
              <c:showCatName val="0"/>
              <c:showSerName val="0"/>
              <c:showPercent val="0"/>
              <c:showBubbleSize val="0"/>
            </c:dLbl>
            <c:dLbl>
              <c:idx val="2"/>
              <c:tx>
                <c:rich>
                  <a:bodyPr/>
                  <a:lstStyle/>
                  <a:p>
                    <a:pPr>
                      <a:defRPr sz="800">
                        <a:latin typeface="Nexa Book (Body)"/>
                      </a:defRPr>
                    </a:pPr>
                    <a:r>
                      <a:t>3040</a:t>
                    </a:r>
                  </a:p>
                </c:rich>
              </c:tx>
              <c:showLegendKey val="0"/>
              <c:showVal val="1"/>
              <c:showCatName val="0"/>
              <c:showSerName val="0"/>
              <c:showPercent val="0"/>
              <c:showBubbleSize val="0"/>
            </c:dLbl>
            <c:dLbl>
              <c:idx val="3"/>
              <c:tx>
                <c:rich>
                  <a:bodyPr/>
                  <a:lstStyle/>
                  <a:p>
                    <a:pPr>
                      <a:defRPr sz="800">
                        <a:latin typeface="Nexa Book (Body)"/>
                      </a:defRPr>
                    </a:pPr>
                    <a:r>
                      <a:t>1213</a:t>
                    </a:r>
                  </a:p>
                </c:rich>
              </c:tx>
              <c:showLegendKey val="0"/>
              <c:showVal val="1"/>
              <c:showCatName val="0"/>
              <c:showSerName val="0"/>
              <c:showPercent val="0"/>
              <c:showBubbleSize val="0"/>
            </c:dLbl>
            <c:dLbl>
              <c:idx val="4"/>
              <c:tx>
                <c:rich>
                  <a:bodyPr/>
                  <a:lstStyle/>
                  <a:p>
                    <a:pPr>
                      <a:defRPr sz="800">
                        <a:latin typeface="Nexa Book (Body)"/>
                      </a:defRPr>
                    </a:pPr>
                    <a:r>
                      <a:t>19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2157.80027</c:v>
                </c:pt>
                <c:pt idx="1">
                  <c:v>7707.25832</c:v>
                </c:pt>
                <c:pt idx="2">
                  <c:v>3039.75026</c:v>
                </c:pt>
                <c:pt idx="3">
                  <c:v>1212.57015</c:v>
                </c:pt>
                <c:pt idx="4">
                  <c:v>198.2215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66</a:t>
                    </a:r>
                  </a:p>
                </c:rich>
              </c:tx>
              <c:showLegendKey val="0"/>
              <c:showVal val="1"/>
              <c:showCatName val="0"/>
              <c:showSerName val="0"/>
              <c:showPercent val="0"/>
              <c:showBubbleSize val="0"/>
            </c:dLbl>
            <c:dLbl>
              <c:idx val="1"/>
              <c:tx>
                <c:rich>
                  <a:bodyPr/>
                  <a:lstStyle/>
                  <a:p>
                    <a:pPr>
                      <a:defRPr sz="800">
                        <a:latin typeface="Nexa Book (Body)"/>
                      </a:defRPr>
                    </a:pPr>
                    <a:r>
                      <a:t>641</a:t>
                    </a:r>
                  </a:p>
                </c:rich>
              </c:tx>
              <c:showLegendKey val="0"/>
              <c:showVal val="1"/>
              <c:showCatName val="0"/>
              <c:showSerName val="0"/>
              <c:showPercent val="0"/>
              <c:showBubbleSize val="0"/>
            </c:dLbl>
            <c:dLbl>
              <c:idx val="2"/>
              <c:tx>
                <c:rich>
                  <a:bodyPr/>
                  <a:lstStyle/>
                  <a:p>
                    <a:pPr>
                      <a:defRPr sz="800">
                        <a:latin typeface="Nexa Book (Body)"/>
                      </a:defRPr>
                    </a:pPr>
                    <a:r>
                      <a:t>5</a:t>
                    </a:r>
                  </a:p>
                </c:rich>
              </c:tx>
              <c:showLegendKey val="0"/>
              <c:showVal val="1"/>
              <c:showCatName val="0"/>
              <c:showSerName val="0"/>
              <c:showPercent val="0"/>
              <c:showBubbleSize val="0"/>
            </c:dLbl>
            <c:dLbl>
              <c:idx val="3"/>
              <c:tx>
                <c:rich>
                  <a:bodyPr/>
                  <a:lstStyle/>
                  <a:p>
                    <a:pPr>
                      <a:defRPr sz="800">
                        <a:latin typeface="Nexa Book (Body)"/>
                      </a:defRPr>
                    </a:pPr>
                    <a:r>
                      <a:t>2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665.74255</c:v>
                </c:pt>
                <c:pt idx="1">
                  <c:v>640.83623</c:v>
                </c:pt>
                <c:pt idx="2">
                  <c:v>4.73454</c:v>
                </c:pt>
                <c:pt idx="3">
                  <c:v>20.17178</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7707</a:t>
                    </a:r>
                  </a:p>
                </c:rich>
              </c:tx>
              <c:showLegendKey val="0"/>
              <c:showVal val="1"/>
              <c:showCatName val="0"/>
              <c:showSerName val="0"/>
              <c:showPercent val="0"/>
              <c:showBubbleSize val="0"/>
            </c:dLbl>
            <c:dLbl>
              <c:idx val="2"/>
              <c:tx>
                <c:rich>
                  <a:bodyPr/>
                  <a:lstStyle/>
                  <a:p>
                    <a:pPr>
                      <a:defRPr sz="800">
                        <a:latin typeface="Nexa Book (Body)"/>
                      </a:defRPr>
                    </a:pPr>
                    <a:r>
                      <a:t>3040</a:t>
                    </a:r>
                  </a:p>
                </c:rich>
              </c:tx>
              <c:showLegendKey val="0"/>
              <c:showVal val="1"/>
              <c:showCatName val="0"/>
              <c:showSerName val="0"/>
              <c:showPercent val="0"/>
              <c:showBubbleSize val="0"/>
            </c:dLbl>
            <c:dLbl>
              <c:idx val="3"/>
              <c:tx>
                <c:rich>
                  <a:bodyPr/>
                  <a:lstStyle/>
                  <a:p>
                    <a:pPr>
                      <a:defRPr sz="800">
                        <a:latin typeface="Nexa Book (Body)"/>
                      </a:defRPr>
                    </a:pPr>
                    <a:r>
                      <a:t>1213</a:t>
                    </a:r>
                  </a:p>
                </c:rich>
              </c:tx>
              <c:showLegendKey val="0"/>
              <c:showVal val="1"/>
              <c:showCatName val="0"/>
              <c:showSerName val="0"/>
              <c:showPercent val="0"/>
              <c:showBubbleSize val="0"/>
            </c:dLbl>
            <c:dLbl>
              <c:idx val="4"/>
              <c:tx>
                <c:rich>
                  <a:bodyPr/>
                  <a:lstStyle/>
                  <a:p>
                    <a:pPr>
                      <a:defRPr sz="800">
                        <a:latin typeface="Nexa Book (Body)"/>
                      </a:defRPr>
                    </a:pPr>
                    <a:r>
                      <a:t>19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2157.80027</c:v>
                </c:pt>
                <c:pt idx="1">
                  <c:v>7707.25832</c:v>
                </c:pt>
                <c:pt idx="2">
                  <c:v>3039.75026</c:v>
                </c:pt>
                <c:pt idx="3">
                  <c:v>1212.57015</c:v>
                </c:pt>
                <c:pt idx="4">
                  <c:v>198.2215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46</a:t>
                    </a:r>
                  </a:p>
                </c:rich>
              </c:tx>
              <c:showLegendKey val="0"/>
              <c:showVal val="1"/>
              <c:showCatName val="0"/>
              <c:showSerName val="0"/>
              <c:showPercent val="0"/>
              <c:showBubbleSize val="0"/>
            </c:dLbl>
            <c:dLbl>
              <c:idx val="1"/>
              <c:tx>
                <c:rich>
                  <a:bodyPr/>
                  <a:lstStyle/>
                  <a:p>
                    <a:pPr>
                      <a:defRPr sz="800">
                        <a:latin typeface="Nexa Book (Body)"/>
                      </a:defRPr>
                    </a:pPr>
                    <a:r>
                      <a:t>121</a:t>
                    </a:r>
                  </a:p>
                </c:rich>
              </c:tx>
              <c:showLegendKey val="0"/>
              <c:showVal val="1"/>
              <c:showCatName val="0"/>
              <c:showSerName val="0"/>
              <c:showPercent val="0"/>
              <c:showBubbleSize val="0"/>
            </c:dLbl>
            <c:dLbl>
              <c:idx val="2"/>
              <c:tx>
                <c:rich>
                  <a:bodyPr/>
                  <a:lstStyle/>
                  <a:p>
                    <a:pPr>
                      <a:defRPr sz="800">
                        <a:latin typeface="Nexa Book (Body)"/>
                      </a:defRPr>
                    </a:pPr>
                    <a:r>
                      <a:t>373</a:t>
                    </a:r>
                  </a:p>
                </c:rich>
              </c:tx>
              <c:showLegendKey val="0"/>
              <c:showVal val="1"/>
              <c:showCatName val="0"/>
              <c:showSerName val="0"/>
              <c:showPercent val="0"/>
              <c:showBubbleSize val="0"/>
            </c:dLbl>
            <c:dLbl>
              <c:idx val="3"/>
              <c:tx>
                <c:rich>
                  <a:bodyPr/>
                  <a:lstStyle/>
                  <a:p>
                    <a:pPr>
                      <a:defRPr sz="800">
                        <a:latin typeface="Nexa Book (Body)"/>
                      </a:defRPr>
                    </a:pPr>
                    <a:r>
                      <a:t>353</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46.40725</c:v>
                </c:pt>
                <c:pt idx="1">
                  <c:v>120.74786</c:v>
                </c:pt>
                <c:pt idx="2">
                  <c:v>372.64938</c:v>
                </c:pt>
                <c:pt idx="3">
                  <c:v>353.01001</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899012968419843</c:v>
                </c:pt>
                <c:pt idx="1">
                  <c:v>0.10840541083557183</c:v>
                </c:pt>
                <c:pt idx="2">
                  <c:v>0.03303411629000803</c:v>
                </c:pt>
                <c:pt idx="3">
                  <c:v>0.056980284627371515</c:v>
                </c:pt>
                <c:pt idx="4">
                  <c:v>0.0116788914050643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781</a:t>
                    </a:r>
                  </a:p>
                </c:rich>
              </c:tx>
              <c:showLegendKey val="0"/>
              <c:showVal val="1"/>
              <c:showCatName val="0"/>
              <c:showSerName val="0"/>
              <c:showPercent val="0"/>
              <c:showBubbleSize val="0"/>
            </c:dLbl>
            <c:dLbl>
              <c:idx val="2"/>
              <c:tx>
                <c:rich>
                  <a:bodyPr/>
                  <a:lstStyle/>
                  <a:p>
                    <a:pPr>
                      <a:defRPr sz="800">
                        <a:latin typeface="Nexa Book (Body)"/>
                      </a:defRPr>
                    </a:pPr>
                    <a:r>
                      <a:t>206</a:t>
                    </a:r>
                  </a:p>
                </c:rich>
              </c:tx>
              <c:showLegendKey val="0"/>
              <c:showVal val="1"/>
              <c:showCatName val="0"/>
              <c:showSerName val="0"/>
              <c:showPercent val="0"/>
              <c:showBubbleSize val="0"/>
            </c:dLbl>
            <c:dLbl>
              <c:idx val="3"/>
              <c:tx>
                <c:rich>
                  <a:bodyPr/>
                  <a:lstStyle/>
                  <a:p>
                    <a:pPr>
                      <a:defRPr sz="800">
                        <a:latin typeface="Nexa Book (Body)"/>
                      </a:defRPr>
                    </a:pPr>
                    <a:r>
                      <a:t>199</a:t>
                    </a:r>
                  </a:p>
                </c:rich>
              </c:tx>
              <c:showLegendKey val="0"/>
              <c:showVal val="1"/>
              <c:showCatName val="0"/>
              <c:showSerName val="0"/>
              <c:showPercent val="0"/>
              <c:showBubbleSize val="0"/>
            </c:dLbl>
            <c:dLbl>
              <c:idx val="4"/>
              <c:tx>
                <c:rich>
                  <a:bodyPr/>
                  <a:lstStyle/>
                  <a:p>
                    <a:pPr>
                      <a:defRPr sz="800">
                        <a:latin typeface="Nexa Book (Body)"/>
                      </a:defRPr>
                    </a:pPr>
                    <a:r>
                      <a:t>16</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201.51489</c:v>
                </c:pt>
                <c:pt idx="1">
                  <c:v>781.04487</c:v>
                </c:pt>
                <c:pt idx="2">
                  <c:v>205.90782</c:v>
                </c:pt>
                <c:pt idx="3">
                  <c:v>198.96189</c:v>
                </c:pt>
                <c:pt idx="4">
                  <c:v>15.6003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47</a:t>
                    </a:r>
                  </a:p>
                </c:rich>
              </c:tx>
              <c:showLegendKey val="0"/>
              <c:showVal val="1"/>
              <c:showCatName val="0"/>
              <c:showSerName val="0"/>
              <c:showPercent val="0"/>
              <c:showBubbleSize val="0"/>
            </c:dLbl>
            <c:dLbl>
              <c:idx val="1"/>
              <c:tx>
                <c:rich>
                  <a:bodyPr/>
                  <a:lstStyle/>
                  <a:p>
                    <a:pPr>
                      <a:defRPr sz="800">
                        <a:latin typeface="Nexa Book (Body)"/>
                      </a:defRPr>
                    </a:pPr>
                    <a:r>
                      <a:t>31</a:t>
                    </a:r>
                  </a:p>
                </c:rich>
              </c:tx>
              <c:showLegendKey val="0"/>
              <c:showVal val="1"/>
              <c:showCatName val="0"/>
              <c:showSerName val="0"/>
              <c:showPercent val="0"/>
              <c:showBubbleSize val="0"/>
            </c:dLbl>
            <c:dLbl>
              <c:idx val="2"/>
              <c:tx>
                <c:rich>
                  <a:bodyPr/>
                  <a:lstStyle/>
                  <a:p>
                    <a:pPr>
                      <a:defRPr sz="800">
                        <a:latin typeface="Nexa Book (Body)"/>
                      </a:defRPr>
                    </a:pPr>
                    <a:r>
                      <a:t>25</a:t>
                    </a:r>
                  </a:p>
                </c:rich>
              </c:tx>
              <c:showLegendKey val="0"/>
              <c:showVal val="1"/>
              <c:showCatName val="0"/>
              <c:showSerName val="0"/>
              <c:showPercent val="0"/>
              <c:showBubbleSize val="0"/>
            </c:dLbl>
            <c:dLbl>
              <c:idx val="3"/>
              <c:tx>
                <c:rich>
                  <a:bodyPr/>
                  <a:lstStyle/>
                  <a:p>
                    <a:pPr>
                      <a:defRPr sz="800">
                        <a:latin typeface="Nexa Book (Body)"/>
                      </a:defRPr>
                    </a:pPr>
                    <a:r>
                      <a:t>76</a:t>
                    </a:r>
                  </a:p>
                </c:rich>
              </c:tx>
              <c:showLegendKey val="0"/>
              <c:showVal val="1"/>
              <c:showCatName val="0"/>
              <c:showSerName val="0"/>
              <c:showPercent val="0"/>
              <c:showBubbleSize val="0"/>
            </c:dLbl>
            <c:dLbl>
              <c:idx val="4"/>
              <c:tx>
                <c:rich>
                  <a:bodyPr/>
                  <a:lstStyle/>
                  <a:p>
                    <a:pPr>
                      <a:defRPr sz="800">
                        <a:latin typeface="Nexa Book (Body)"/>
                      </a:defRPr>
                    </a:pPr>
                    <a:r>
                      <a:t>16</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47.41797</c:v>
                </c:pt>
                <c:pt idx="1">
                  <c:v>30.86949</c:v>
                </c:pt>
                <c:pt idx="2">
                  <c:v>24.60291</c:v>
                </c:pt>
                <c:pt idx="3">
                  <c:v>76.34526</c:v>
                </c:pt>
                <c:pt idx="4">
                  <c:v>15.60031</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8867577854078046</c:v>
                </c:pt>
                <c:pt idx="1">
                  <c:v>0.0267587241646738</c:v>
                </c:pt>
                <c:pt idx="2">
                  <c:v>-0.123658855005945</c:v>
                </c:pt>
                <c:pt idx="3">
                  <c:v>0.0059611607275289885</c:v>
                </c:pt>
                <c:pt idx="4">
                  <c:v>0.0022631915729618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35</a:t>
                    </a:r>
                  </a:p>
                </c:rich>
              </c:tx>
              <c:showLegendKey val="0"/>
              <c:showVal val="1"/>
              <c:showCatName val="0"/>
              <c:showSerName val="0"/>
              <c:showPercent val="0"/>
              <c:showBubbleSize val="0"/>
            </c:dLbl>
            <c:dLbl>
              <c:idx val="2"/>
              <c:tx>
                <c:rich>
                  <a:bodyPr/>
                  <a:lstStyle/>
                  <a:p>
                    <a:pPr>
                      <a:defRPr sz="800">
                        <a:latin typeface="Nexa Book (Body)"/>
                      </a:defRPr>
                    </a:pPr>
                    <a:r>
                      <a:t>196</a:t>
                    </a:r>
                  </a:p>
                </c:rich>
              </c:tx>
              <c:showLegendKey val="0"/>
              <c:showVal val="1"/>
              <c:showCatName val="0"/>
              <c:showSerName val="0"/>
              <c:showPercent val="0"/>
              <c:showBubbleSize val="0"/>
            </c:dLbl>
            <c:dLbl>
              <c:idx val="3"/>
              <c:tx>
                <c:rich>
                  <a:bodyPr/>
                  <a:lstStyle/>
                  <a:p>
                    <a:pPr>
                      <a:defRPr sz="800">
                        <a:latin typeface="Nexa Book (Body)"/>
                      </a:defRPr>
                    </a:pPr>
                    <a:r>
                      <a:t>64</a:t>
                    </a:r>
                  </a:p>
                </c:rich>
              </c:tx>
              <c:showLegendKey val="0"/>
              <c:showVal val="1"/>
              <c:showCatName val="0"/>
              <c:showSerName val="0"/>
              <c:showPercent val="0"/>
              <c:showBubbleSize val="0"/>
            </c:dLbl>
            <c:dLbl>
              <c:idx val="4"/>
              <c:tx>
                <c:rich>
                  <a:bodyPr/>
                  <a:lstStyle/>
                  <a:p>
                    <a:pPr>
                      <a:defRPr sz="800">
                        <a:latin typeface="Nexa Book (Body)"/>
                      </a:defRPr>
                    </a:pPr>
                    <a:r>
                      <a:t>1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14.07062</c:v>
                </c:pt>
                <c:pt idx="1">
                  <c:v>535.48944</c:v>
                </c:pt>
                <c:pt idx="2">
                  <c:v>196.02573</c:v>
                </c:pt>
                <c:pt idx="3">
                  <c:v>64.0982</c:v>
                </c:pt>
                <c:pt idx="4">
                  <c:v>18.4572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28</a:t>
                    </a:r>
                  </a:p>
                </c:rich>
              </c:tx>
              <c:showLegendKey val="0"/>
              <c:showVal val="1"/>
              <c:showCatName val="0"/>
              <c:showSerName val="0"/>
              <c:showPercent val="0"/>
              <c:showBubbleSize val="0"/>
            </c:dLbl>
            <c:dLbl>
              <c:idx val="2"/>
              <c:tx>
                <c:rich>
                  <a:bodyPr/>
                  <a:lstStyle/>
                  <a:p>
                    <a:pPr>
                      <a:defRPr sz="800">
                        <a:latin typeface="Nexa Book (Body)"/>
                      </a:defRPr>
                    </a:pPr>
                    <a:r>
                      <a:t>34</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1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0.20859</c:v>
                </c:pt>
                <c:pt idx="1">
                  <c:v>27.55491</c:v>
                </c:pt>
                <c:pt idx="2">
                  <c:v>34.19346</c:v>
                </c:pt>
                <c:pt idx="3">
                  <c:v>0.00297</c:v>
                </c:pt>
                <c:pt idx="4">
                  <c:v>18.45725</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997740229770822</c:v>
                </c:pt>
                <c:pt idx="1">
                  <c:v>0.19012727386490214</c:v>
                </c:pt>
                <c:pt idx="2">
                  <c:v>0.10840541083557183</c:v>
                </c:pt>
                <c:pt idx="3">
                  <c:v>0.04651398909703788</c:v>
                </c:pt>
                <c:pt idx="4">
                  <c:v>0.031806166920879814</c:v>
                </c:pt>
                <c:pt idx="5">
                  <c:v>0.011678891405064309</c:v>
                </c:pt>
                <c:pt idx="6">
                  <c:v>0.010466295530333635</c:v>
                </c:pt>
                <c:pt idx="7">
                  <c:v>0.0012279493691282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5000191271821608</c:v>
                </c:pt>
                <c:pt idx="1">
                  <c:v>0.02767323766115415</c:v>
                </c:pt>
                <c:pt idx="2">
                  <c:v>-0.04655084722375088</c:v>
                </c:pt>
                <c:pt idx="3">
                  <c:v>0.018620260606932275</c:v>
                </c:pt>
                <c:pt idx="4">
                  <c:v>0.00525754022748607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629</a:t>
                    </a:r>
                  </a:p>
                </c:rich>
              </c:tx>
              <c:showLegendKey val="0"/>
              <c:showVal val="1"/>
              <c:showCatName val="0"/>
              <c:showSerName val="0"/>
              <c:showPercent val="0"/>
              <c:showBubbleSize val="0"/>
            </c:dLbl>
            <c:dLbl>
              <c:idx val="2"/>
              <c:tx>
                <c:rich>
                  <a:bodyPr/>
                  <a:lstStyle/>
                  <a:p>
                    <a:pPr>
                      <a:defRPr sz="800">
                        <a:latin typeface="Nexa Book (Body)"/>
                      </a:defRPr>
                    </a:pPr>
                    <a:r>
                      <a:t>153</a:t>
                    </a:r>
                  </a:p>
                </c:rich>
              </c:tx>
              <c:showLegendKey val="0"/>
              <c:showVal val="1"/>
              <c:showCatName val="0"/>
              <c:showSerName val="0"/>
              <c:showPercent val="0"/>
              <c:showBubbleSize val="0"/>
            </c:dLbl>
            <c:dLbl>
              <c:idx val="3"/>
              <c:tx>
                <c:rich>
                  <a:bodyPr/>
                  <a:lstStyle/>
                  <a:p>
                    <a:pPr>
                      <a:defRPr sz="800">
                        <a:latin typeface="Nexa Book (Body)"/>
                      </a:defRPr>
                    </a:pPr>
                    <a:r>
                      <a:t>109</a:t>
                    </a:r>
                  </a:p>
                </c:rich>
              </c:tx>
              <c:showLegendKey val="0"/>
              <c:showVal val="1"/>
              <c:showCatName val="0"/>
              <c:showSerName val="0"/>
              <c:showPercent val="0"/>
              <c:showBubbleSize val="0"/>
            </c:dLbl>
            <c:dLbl>
              <c:idx val="4"/>
              <c:tx>
                <c:rich>
                  <a:bodyPr/>
                  <a:lstStyle/>
                  <a:p>
                    <a:pPr>
                      <a:defRPr sz="800">
                        <a:latin typeface="Nexa Book (Body)"/>
                      </a:defRPr>
                    </a:pPr>
                    <a:r>
                      <a:t>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98.9509</c:v>
                </c:pt>
                <c:pt idx="1">
                  <c:v>629.34152</c:v>
                </c:pt>
                <c:pt idx="2">
                  <c:v>153.31294</c:v>
                </c:pt>
                <c:pt idx="3">
                  <c:v>109.44349</c:v>
                </c:pt>
                <c:pt idx="4">
                  <c:v>6.8529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8</a:t>
                    </a:r>
                  </a:p>
                </c:rich>
              </c:tx>
              <c:showLegendKey val="0"/>
              <c:showVal val="1"/>
              <c:showCatName val="0"/>
              <c:showSerName val="0"/>
              <c:showPercent val="0"/>
              <c:showBubbleSize val="0"/>
            </c:dLbl>
            <c:dLbl>
              <c:idx val="1"/>
              <c:tx>
                <c:rich>
                  <a:bodyPr/>
                  <a:lstStyle/>
                  <a:p>
                    <a:pPr>
                      <a:defRPr sz="800">
                        <a:latin typeface="Nexa Book (Body)"/>
                      </a:defRPr>
                    </a:pPr>
                    <a:r>
                      <a:t>8</a:t>
                    </a:r>
                  </a:p>
                </c:rich>
              </c:tx>
              <c:showLegendKey val="0"/>
              <c:showVal val="1"/>
              <c:showCatName val="0"/>
              <c:showSerName val="0"/>
              <c:showPercent val="0"/>
              <c:showBubbleSize val="0"/>
            </c:dLbl>
            <c:dLbl>
              <c:idx val="2"/>
              <c:tx>
                <c:rich>
                  <a:bodyPr/>
                  <a:lstStyle/>
                  <a:p>
                    <a:pPr>
                      <a:defRPr sz="800">
                        <a:latin typeface="Nexa Book (Body)"/>
                      </a:defRPr>
                    </a:pPr>
                    <a:r>
                      <a:t>52</a:t>
                    </a:r>
                  </a:p>
                </c:rich>
              </c:tx>
              <c:showLegendKey val="0"/>
              <c:showVal val="1"/>
              <c:showCatName val="0"/>
              <c:showSerName val="0"/>
              <c:showPercent val="0"/>
              <c:showBubbleSize val="0"/>
            </c:dLbl>
            <c:dLbl>
              <c:idx val="3"/>
              <c:tx>
                <c:rich>
                  <a:bodyPr/>
                  <a:lstStyle/>
                  <a:p>
                    <a:pPr>
                      <a:defRPr sz="800">
                        <a:latin typeface="Nexa Book (Body)"/>
                      </a:defRPr>
                    </a:pPr>
                    <a:r>
                      <a:t>19</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78.28707</c:v>
                </c:pt>
                <c:pt idx="1">
                  <c:v>7.80001</c:v>
                </c:pt>
                <c:pt idx="2">
                  <c:v>51.84678</c:v>
                </c:pt>
                <c:pt idx="3">
                  <c:v>18.64028</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35</a:t>
                    </a:r>
                  </a:p>
                </c:rich>
              </c:tx>
              <c:showLegendKey val="0"/>
              <c:showVal val="1"/>
              <c:showCatName val="0"/>
              <c:showSerName val="0"/>
              <c:showPercent val="0"/>
              <c:showBubbleSize val="0"/>
            </c:dLbl>
            <c:dLbl>
              <c:idx val="2"/>
              <c:tx>
                <c:rich>
                  <a:bodyPr/>
                  <a:lstStyle/>
                  <a:p>
                    <a:pPr>
                      <a:defRPr sz="800">
                        <a:latin typeface="Nexa Book (Body)"/>
                      </a:defRPr>
                    </a:pPr>
                    <a:r>
                      <a:t>196</a:t>
                    </a:r>
                  </a:p>
                </c:rich>
              </c:tx>
              <c:showLegendKey val="0"/>
              <c:showVal val="1"/>
              <c:showCatName val="0"/>
              <c:showSerName val="0"/>
              <c:showPercent val="0"/>
              <c:showBubbleSize val="0"/>
            </c:dLbl>
            <c:dLbl>
              <c:idx val="3"/>
              <c:tx>
                <c:rich>
                  <a:bodyPr/>
                  <a:lstStyle/>
                  <a:p>
                    <a:pPr>
                      <a:defRPr sz="800">
                        <a:latin typeface="Nexa Book (Body)"/>
                      </a:defRPr>
                    </a:pPr>
                    <a:r>
                      <a:t>64</a:t>
                    </a:r>
                  </a:p>
                </c:rich>
              </c:tx>
              <c:showLegendKey val="0"/>
              <c:showVal val="1"/>
              <c:showCatName val="0"/>
              <c:showSerName val="0"/>
              <c:showPercent val="0"/>
              <c:showBubbleSize val="0"/>
            </c:dLbl>
            <c:dLbl>
              <c:idx val="4"/>
              <c:tx>
                <c:rich>
                  <a:bodyPr/>
                  <a:lstStyle/>
                  <a:p>
                    <a:pPr>
                      <a:defRPr sz="800">
                        <a:latin typeface="Nexa Book (Body)"/>
                      </a:defRPr>
                    </a:pPr>
                    <a:r>
                      <a:t>1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14.07062</c:v>
                </c:pt>
                <c:pt idx="1">
                  <c:v>535.48944</c:v>
                </c:pt>
                <c:pt idx="2">
                  <c:v>196.02573</c:v>
                </c:pt>
                <c:pt idx="3">
                  <c:v>64.0982</c:v>
                </c:pt>
                <c:pt idx="4">
                  <c:v>18.4572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7</a:t>
                    </a:r>
                  </a:p>
                </c:rich>
              </c:tx>
              <c:showLegendKey val="0"/>
              <c:showVal val="1"/>
              <c:showCatName val="0"/>
              <c:showSerName val="0"/>
              <c:showPercent val="0"/>
              <c:showBubbleSize val="0"/>
            </c:dLbl>
            <c:dLbl>
              <c:idx val="1"/>
              <c:tx>
                <c:rich>
                  <a:bodyPr/>
                  <a:lstStyle/>
                  <a:p>
                    <a:pPr>
                      <a:defRPr sz="800">
                        <a:latin typeface="Nexa Book (Body)"/>
                      </a:defRPr>
                    </a:pPr>
                    <a:r>
                      <a:t>20</a:t>
                    </a:r>
                  </a:p>
                </c:rich>
              </c:tx>
              <c:showLegendKey val="0"/>
              <c:showVal val="1"/>
              <c:showCatName val="0"/>
              <c:showSerName val="0"/>
              <c:showPercent val="0"/>
              <c:showBubbleSize val="0"/>
            </c:dLbl>
            <c:dLbl>
              <c:idx val="2"/>
              <c:tx>
                <c:rich>
                  <a:bodyPr/>
                  <a:lstStyle/>
                  <a:p>
                    <a:pPr>
                      <a:defRPr sz="800">
                        <a:latin typeface="Nexa Book (Body)"/>
                      </a:defRPr>
                    </a:pPr>
                    <a:r>
                      <a:t>35</a:t>
                    </a:r>
                  </a:p>
                </c:rich>
              </c:tx>
              <c:showLegendKey val="0"/>
              <c:showVal val="1"/>
              <c:showCatName val="0"/>
              <c:showSerName val="0"/>
              <c:showPercent val="0"/>
              <c:showBubbleSize val="0"/>
            </c:dLbl>
            <c:dLbl>
              <c:idx val="3"/>
              <c:tx>
                <c:rich>
                  <a:bodyPr/>
                  <a:lstStyle/>
                  <a:p>
                    <a:pPr>
                      <a:defRPr sz="800">
                        <a:latin typeface="Nexa Book (Body)"/>
                      </a:defRPr>
                    </a:pPr>
                    <a:r>
                      <a:t>22</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77.32358</c:v>
                </c:pt>
                <c:pt idx="1">
                  <c:v>20.43351</c:v>
                </c:pt>
                <c:pt idx="2">
                  <c:v>35.2521</c:v>
                </c:pt>
                <c:pt idx="3">
                  <c:v>21.63797</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7821638128193642</c:v>
                </c:pt>
                <c:pt idx="1">
                  <c:v>0.07321619001011474</c:v>
                </c:pt>
                <c:pt idx="2">
                  <c:v>0.02767323766115415</c:v>
                </c:pt>
                <c:pt idx="3">
                  <c:v>0.013421674844346032</c:v>
                </c:pt>
                <c:pt idx="4">
                  <c:v>-0.04661668671330502</c:v>
                </c:pt>
                <c:pt idx="5">
                  <c:v>0.005257540227486072</c:v>
                </c:pt>
                <c:pt idx="6">
                  <c:v>0.00519880015422531</c:v>
                </c:pt>
                <c:pt idx="7">
                  <c:v>6.562509791507557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310</a:t>
                    </a:r>
                  </a:p>
                </c:rich>
              </c:tx>
              <c:showLegendKey val="0"/>
              <c:showVal val="1"/>
              <c:showCatName val="0"/>
              <c:showSerName val="0"/>
              <c:showPercent val="0"/>
              <c:showBubbleSize val="0"/>
            </c:dLbl>
            <c:dLbl>
              <c:idx val="2"/>
              <c:tx>
                <c:rich>
                  <a:bodyPr/>
                  <a:lstStyle/>
                  <a:p>
                    <a:pPr>
                      <a:defRPr sz="800">
                        <a:latin typeface="Nexa Book (Body)"/>
                      </a:defRPr>
                    </a:pPr>
                    <a:r>
                      <a:t>109</a:t>
                    </a:r>
                  </a:p>
                </c:rich>
              </c:tx>
              <c:showLegendKey val="0"/>
              <c:showVal val="1"/>
              <c:showCatName val="0"/>
              <c:showSerName val="0"/>
              <c:showPercent val="0"/>
              <c:showBubbleSize val="0"/>
            </c:dLbl>
            <c:dLbl>
              <c:idx val="3"/>
              <c:tx>
                <c:rich>
                  <a:bodyPr/>
                  <a:lstStyle/>
                  <a:p>
                    <a:pPr>
                      <a:defRPr sz="800">
                        <a:latin typeface="Nexa Book (Body)"/>
                      </a:defRPr>
                    </a:pPr>
                    <a:r>
                      <a:t>48</a:t>
                    </a:r>
                  </a:p>
                </c:rich>
              </c:tx>
              <c:showLegendKey val="0"/>
              <c:showVal val="1"/>
              <c:showCatName val="0"/>
              <c:showSerName val="0"/>
              <c:showPercent val="0"/>
              <c:showBubbleSize val="0"/>
            </c:dLbl>
            <c:dLbl>
              <c:idx val="4"/>
              <c:tx>
                <c:rich>
                  <a:bodyPr/>
                  <a:lstStyle/>
                  <a:p>
                    <a:pPr>
                      <a:defRPr sz="800">
                        <a:latin typeface="Nexa Book (Body)"/>
                      </a:defRPr>
                    </a:pPr>
                    <a:r>
                      <a:t>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475.20104</c:v>
                </c:pt>
                <c:pt idx="1">
                  <c:v>310.18165</c:v>
                </c:pt>
                <c:pt idx="2">
                  <c:v>108.7827</c:v>
                </c:pt>
                <c:pt idx="3">
                  <c:v>48.40828</c:v>
                </c:pt>
                <c:pt idx="4">
                  <c:v>7.8284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5</a:t>
                    </a:r>
                  </a:p>
                </c:rich>
              </c:tx>
              <c:showLegendKey val="0"/>
              <c:showVal val="1"/>
              <c:showCatName val="0"/>
              <c:showSerName val="0"/>
              <c:showPercent val="0"/>
              <c:showBubbleSize val="0"/>
            </c:dLbl>
            <c:dLbl>
              <c:idx val="1"/>
              <c:tx>
                <c:rich>
                  <a:bodyPr/>
                  <a:lstStyle/>
                  <a:p>
                    <a:pPr>
                      <a:defRPr sz="800">
                        <a:latin typeface="Nexa Book (Body)"/>
                      </a:defRPr>
                    </a:pPr>
                    <a:r>
                      <a:t>25</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4.99695</c:v>
                </c:pt>
                <c:pt idx="1">
                  <c:v>24.99695</c:v>
                </c:pt>
                <c:pt idx="2">
                  <c:v>0.0</c:v>
                </c:pt>
                <c:pt idx="3">
                  <c:v>0.0</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82209203795737</c:v>
                </c:pt>
                <c:pt idx="1">
                  <c:v>0.29775924530114295</c:v>
                </c:pt>
                <c:pt idx="2">
                  <c:v>0.0809052775124273</c:v>
                </c:pt>
                <c:pt idx="3">
                  <c:v>0.0183025640836522</c:v>
                </c:pt>
                <c:pt idx="4">
                  <c:v>0.016334226086000037</c:v>
                </c:pt>
                <c:pt idx="5">
                  <c:v>0.0284777666372037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111</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18</a:t>
                    </a:r>
                  </a:p>
                </c:rich>
              </c:tx>
              <c:showLegendKey val="0"/>
              <c:showVal val="1"/>
              <c:showCatName val="0"/>
              <c:showSerName val="0"/>
              <c:showPercent val="0"/>
              <c:showBubbleSize val="0"/>
            </c:dLbl>
            <c:dLbl>
              <c:idx val="4"/>
              <c:tx>
                <c:rich>
                  <a:bodyPr/>
                  <a:lstStyle/>
                  <a:p>
                    <a:pPr>
                      <a:defRPr sz="800">
                        <a:latin typeface="Nexa Book (Body)"/>
                      </a:defRPr>
                    </a:pPr>
                    <a:r>
                      <a:t>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72.27134</c:v>
                </c:pt>
                <c:pt idx="1">
                  <c:v>110.65405</c:v>
                </c:pt>
                <c:pt idx="2">
                  <c:v>40.81735</c:v>
                </c:pt>
                <c:pt idx="3">
                  <c:v>18.18307</c:v>
                </c:pt>
                <c:pt idx="4">
                  <c:v>2.61687</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r>
                      <a:t>1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0.71286</c:v>
                </c:pt>
                <c:pt idx="1">
                  <c:v>10.71286</c:v>
                </c:pt>
                <c:pt idx="2">
                  <c:v>0.0</c:v>
                </c:pt>
                <c:pt idx="3">
                  <c:v>0.0</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9693337206801655</c:v>
                </c:pt>
                <c:pt idx="1">
                  <c:v>-0.006140093523378687</c:v>
                </c:pt>
                <c:pt idx="2">
                  <c:v>-0.0022137031091675335</c:v>
                </c:pt>
                <c:pt idx="3">
                  <c:v>0.004232382324562965</c:v>
                </c:pt>
                <c:pt idx="4">
                  <c:v>-0.0019337508617016455</c:v>
                </c:pt>
                <c:pt idx="5">
                  <c:v>0.01574850237648645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2073</a:t>
                    </a:r>
                  </a:p>
                </c:rich>
              </c:tx>
              <c:showLegendKey val="0"/>
              <c:showVal val="1"/>
              <c:showCatName val="0"/>
              <c:showSerName val="0"/>
              <c:showPercent val="0"/>
              <c:showBubbleSize val="0"/>
            </c:dLbl>
            <c:dLbl>
              <c:idx val="2"/>
              <c:tx>
                <c:rich>
                  <a:bodyPr/>
                  <a:lstStyle/>
                  <a:p>
                    <a:pPr>
                      <a:defRPr sz="800">
                        <a:latin typeface="Nexa Book (Body)"/>
                      </a:defRPr>
                    </a:pPr>
                    <a:r>
                      <a:t>681</a:t>
                    </a:r>
                  </a:p>
                </c:rich>
              </c:tx>
              <c:showLegendKey val="0"/>
              <c:showVal val="1"/>
              <c:showCatName val="0"/>
              <c:showSerName val="0"/>
              <c:showPercent val="0"/>
              <c:showBubbleSize val="0"/>
            </c:dLbl>
            <c:dLbl>
              <c:idx val="3"/>
              <c:tx>
                <c:rich>
                  <a:bodyPr/>
                  <a:lstStyle/>
                  <a:p>
                    <a:pPr>
                      <a:defRPr sz="800">
                        <a:latin typeface="Nexa Book (Body)"/>
                      </a:defRPr>
                    </a:pPr>
                    <a:r>
                      <a:t>335</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3145.98094</c:v>
                </c:pt>
                <c:pt idx="1">
                  <c:v>2072.62231</c:v>
                </c:pt>
                <c:pt idx="2">
                  <c:v>680.58485</c:v>
                </c:pt>
                <c:pt idx="3">
                  <c:v>335.36443</c:v>
                </c:pt>
                <c:pt idx="4">
                  <c:v>57.4093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39</a:t>
                    </a:r>
                  </a:p>
                </c:rich>
              </c:tx>
              <c:showLegendKey val="0"/>
              <c:showVal val="1"/>
              <c:showCatName val="0"/>
              <c:showSerName val="0"/>
              <c:showPercent val="0"/>
              <c:showBubbleSize val="0"/>
            </c:dLbl>
            <c:dLbl>
              <c:idx val="1"/>
              <c:tx>
                <c:rich>
                  <a:bodyPr/>
                  <a:lstStyle/>
                  <a:p>
                    <a:pPr>
                      <a:defRPr sz="800">
                        <a:latin typeface="Nexa Book (Body)"/>
                      </a:defRPr>
                    </a:pPr>
                    <a:r>
                      <a:t>239</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39.08147</c:v>
                </c:pt>
                <c:pt idx="1">
                  <c:v>239.08147</c:v>
                </c:pt>
                <c:pt idx="2">
                  <c:v>0.0</c:v>
                </c:pt>
                <c:pt idx="3">
                  <c:v>0.0</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2073</a:t>
                    </a:r>
                  </a:p>
                </c:rich>
              </c:tx>
              <c:showLegendKey val="0"/>
              <c:showVal val="1"/>
              <c:showCatName val="0"/>
              <c:showSerName val="0"/>
              <c:showPercent val="0"/>
              <c:showBubbleSize val="0"/>
            </c:dLbl>
            <c:dLbl>
              <c:idx val="2"/>
              <c:tx>
                <c:rich>
                  <a:bodyPr/>
                  <a:lstStyle/>
                  <a:p>
                    <a:pPr>
                      <a:defRPr sz="800">
                        <a:latin typeface="Nexa Book (Body)"/>
                      </a:defRPr>
                    </a:pPr>
                    <a:r>
                      <a:t>681</a:t>
                    </a:r>
                  </a:p>
                </c:rich>
              </c:tx>
              <c:showLegendKey val="0"/>
              <c:showVal val="1"/>
              <c:showCatName val="0"/>
              <c:showSerName val="0"/>
              <c:showPercent val="0"/>
              <c:showBubbleSize val="0"/>
            </c:dLbl>
            <c:dLbl>
              <c:idx val="3"/>
              <c:tx>
                <c:rich>
                  <a:bodyPr/>
                  <a:lstStyle/>
                  <a:p>
                    <a:pPr>
                      <a:defRPr sz="800">
                        <a:latin typeface="Nexa Book (Body)"/>
                      </a:defRPr>
                    </a:pPr>
                    <a:r>
                      <a:t>335</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3145.98094</c:v>
                </c:pt>
                <c:pt idx="1">
                  <c:v>2072.62231</c:v>
                </c:pt>
                <c:pt idx="2">
                  <c:v>680.58485</c:v>
                </c:pt>
                <c:pt idx="3">
                  <c:v>335.36443</c:v>
                </c:pt>
                <c:pt idx="4">
                  <c:v>57.4093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44</a:t>
                    </a:r>
                  </a:p>
                </c:rich>
              </c:tx>
              <c:showLegendKey val="0"/>
              <c:showVal val="1"/>
              <c:showCatName val="0"/>
              <c:showSerName val="0"/>
              <c:showPercent val="0"/>
              <c:showBubbleSize val="0"/>
            </c:dLbl>
            <c:dLbl>
              <c:idx val="1"/>
              <c:tx>
                <c:rich>
                  <a:bodyPr/>
                  <a:lstStyle/>
                  <a:p>
                    <a:pPr>
                      <a:defRPr sz="800">
                        <a:latin typeface="Nexa Book (Body)"/>
                      </a:defRPr>
                    </a:pPr>
                    <a:r>
                      <a:t>29</a:t>
                    </a:r>
                  </a:p>
                </c:rich>
              </c:tx>
              <c:showLegendKey val="0"/>
              <c:showVal val="1"/>
              <c:showCatName val="0"/>
              <c:showSerName val="0"/>
              <c:showPercent val="0"/>
              <c:showBubbleSize val="0"/>
            </c:dLbl>
            <c:dLbl>
              <c:idx val="2"/>
              <c:tx>
                <c:rich>
                  <a:bodyPr/>
                  <a:lstStyle/>
                  <a:p>
                    <a:pPr>
                      <a:defRPr sz="800">
                        <a:latin typeface="Nexa Book (Body)"/>
                      </a:defRPr>
                    </a:pPr>
                    <a:r>
                      <a:t>96</a:t>
                    </a:r>
                  </a:p>
                </c:rich>
              </c:tx>
              <c:showLegendKey val="0"/>
              <c:showVal val="1"/>
              <c:showCatName val="0"/>
              <c:showSerName val="0"/>
              <c:showPercent val="0"/>
              <c:showBubbleSize val="0"/>
            </c:dLbl>
            <c:dLbl>
              <c:idx val="3"/>
              <c:tx>
                <c:rich>
                  <a:bodyPr/>
                  <a:lstStyle/>
                  <a:p>
                    <a:pPr>
                      <a:defRPr sz="800">
                        <a:latin typeface="Nexa Book (Body)"/>
                      </a:defRPr>
                    </a:pPr>
                    <a:r>
                      <a:t>12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44.49449</c:v>
                </c:pt>
                <c:pt idx="1">
                  <c:v>28.74903</c:v>
                </c:pt>
                <c:pt idx="2">
                  <c:v>95.56904</c:v>
                </c:pt>
                <c:pt idx="3">
                  <c:v>120.17642</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2073</a:t>
                    </a:r>
                  </a:p>
                </c:rich>
              </c:tx>
              <c:showLegendKey val="0"/>
              <c:showVal val="1"/>
              <c:showCatName val="0"/>
              <c:showSerName val="0"/>
              <c:showPercent val="0"/>
              <c:showBubbleSize val="0"/>
            </c:dLbl>
            <c:dLbl>
              <c:idx val="2"/>
              <c:tx>
                <c:rich>
                  <a:bodyPr/>
                  <a:lstStyle/>
                  <a:p>
                    <a:pPr>
                      <a:defRPr sz="800">
                        <a:latin typeface="Nexa Book (Body)"/>
                      </a:defRPr>
                    </a:pPr>
                    <a:r>
                      <a:t>681</a:t>
                    </a:r>
                  </a:p>
                </c:rich>
              </c:tx>
              <c:showLegendKey val="0"/>
              <c:showVal val="1"/>
              <c:showCatName val="0"/>
              <c:showSerName val="0"/>
              <c:showPercent val="0"/>
              <c:showBubbleSize val="0"/>
            </c:dLbl>
            <c:dLbl>
              <c:idx val="3"/>
              <c:tx>
                <c:rich>
                  <a:bodyPr/>
                  <a:lstStyle/>
                  <a:p>
                    <a:pPr>
                      <a:defRPr sz="800">
                        <a:latin typeface="Nexa Book (Body)"/>
                      </a:defRPr>
                    </a:pPr>
                    <a:r>
                      <a:t>335</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3145.98094</c:v>
                </c:pt>
                <c:pt idx="1">
                  <c:v>2072.62231</c:v>
                </c:pt>
                <c:pt idx="2">
                  <c:v>680.58485</c:v>
                </c:pt>
                <c:pt idx="3">
                  <c:v>335.36443</c:v>
                </c:pt>
                <c:pt idx="4">
                  <c:v>57.4093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31</a:t>
                    </a:r>
                  </a:p>
                </c:rich>
              </c:tx>
              <c:showLegendKey val="0"/>
              <c:showVal val="1"/>
              <c:showCatName val="0"/>
              <c:showSerName val="0"/>
              <c:showPercent val="0"/>
              <c:showBubbleSize val="0"/>
            </c:dLbl>
            <c:dLbl>
              <c:idx val="1"/>
              <c:tx>
                <c:rich>
                  <a:bodyPr/>
                  <a:lstStyle/>
                  <a:p>
                    <a:pPr>
                      <a:defRPr sz="800">
                        <a:latin typeface="Nexa Book (Body)"/>
                      </a:defRPr>
                    </a:pPr>
                    <a:r>
                      <a:t>45</a:t>
                    </a:r>
                  </a:p>
                </c:rich>
              </c:tx>
              <c:showLegendKey val="0"/>
              <c:showVal val="1"/>
              <c:showCatName val="0"/>
              <c:showSerName val="0"/>
              <c:showPercent val="0"/>
              <c:showBubbleSize val="0"/>
            </c:dLbl>
            <c:dLbl>
              <c:idx val="2"/>
              <c:tx>
                <c:rich>
                  <a:bodyPr/>
                  <a:lstStyle/>
                  <a:p>
                    <a:pPr>
                      <a:defRPr sz="800">
                        <a:latin typeface="Nexa Book (Body)"/>
                      </a:defRPr>
                    </a:pPr>
                    <a:r>
                      <a:t>114</a:t>
                    </a:r>
                  </a:p>
                </c:rich>
              </c:tx>
              <c:showLegendKey val="0"/>
              <c:showVal val="1"/>
              <c:showCatName val="0"/>
              <c:showSerName val="0"/>
              <c:showPercent val="0"/>
              <c:showBubbleSize val="0"/>
            </c:dLbl>
            <c:dLbl>
              <c:idx val="3"/>
              <c:tx>
                <c:rich>
                  <a:bodyPr/>
                  <a:lstStyle/>
                  <a:p>
                    <a:pPr>
                      <a:defRPr sz="800">
                        <a:latin typeface="Nexa Book (Body)"/>
                      </a:defRPr>
                    </a:pPr>
                    <a:r>
                      <a:t>14</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30.70996</c:v>
                </c:pt>
                <c:pt idx="1">
                  <c:v>45.32643</c:v>
                </c:pt>
                <c:pt idx="2">
                  <c:v>113.56189</c:v>
                </c:pt>
                <c:pt idx="3">
                  <c:v>14.41229</c:v>
                </c:pt>
                <c:pt idx="4">
                  <c:v>57.40935</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2073</a:t>
                    </a:r>
                  </a:p>
                </c:rich>
              </c:tx>
              <c:showLegendKey val="0"/>
              <c:showVal val="1"/>
              <c:showCatName val="0"/>
              <c:showSerName val="0"/>
              <c:showPercent val="0"/>
              <c:showBubbleSize val="0"/>
            </c:dLbl>
            <c:dLbl>
              <c:idx val="2"/>
              <c:tx>
                <c:rich>
                  <a:bodyPr/>
                  <a:lstStyle/>
                  <a:p>
                    <a:pPr>
                      <a:defRPr sz="800">
                        <a:latin typeface="Nexa Book (Body)"/>
                      </a:defRPr>
                    </a:pPr>
                    <a:r>
                      <a:t>681</a:t>
                    </a:r>
                  </a:p>
                </c:rich>
              </c:tx>
              <c:showLegendKey val="0"/>
              <c:showVal val="1"/>
              <c:showCatName val="0"/>
              <c:showSerName val="0"/>
              <c:showPercent val="0"/>
              <c:showBubbleSize val="0"/>
            </c:dLbl>
            <c:dLbl>
              <c:idx val="3"/>
              <c:tx>
                <c:rich>
                  <a:bodyPr/>
                  <a:lstStyle/>
                  <a:p>
                    <a:pPr>
                      <a:defRPr sz="800">
                        <a:latin typeface="Nexa Book (Body)"/>
                      </a:defRPr>
                    </a:pPr>
                    <a:r>
                      <a:t>335</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3145.98094</c:v>
                </c:pt>
                <c:pt idx="1">
                  <c:v>2072.62231</c:v>
                </c:pt>
                <c:pt idx="2">
                  <c:v>680.58485</c:v>
                </c:pt>
                <c:pt idx="3">
                  <c:v>335.36443</c:v>
                </c:pt>
                <c:pt idx="4">
                  <c:v>57.4093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r>
                      <a:t>5</a:t>
                    </a:r>
                  </a:p>
                </c:rich>
              </c:tx>
              <c:showLegendKey val="0"/>
              <c:showVal val="1"/>
              <c:showCatName val="0"/>
              <c:showSerName val="0"/>
              <c:showPercent val="0"/>
              <c:showBubbleSize val="0"/>
            </c:dLbl>
            <c:dLbl>
              <c:idx val="2"/>
              <c:tx>
                <c:rich>
                  <a:bodyPr/>
                  <a:lstStyle/>
                  <a:p>
                    <a:pPr>
                      <a:defRPr sz="800">
                        <a:latin typeface="Nexa Book (Body)"/>
                      </a:defRPr>
                    </a:pPr>
                    <a:r>
                      <a:t>39</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43.99627</c:v>
                </c:pt>
                <c:pt idx="1">
                  <c:v>4.94814</c:v>
                </c:pt>
                <c:pt idx="2">
                  <c:v>39.04804</c:v>
                </c:pt>
                <c:pt idx="3">
                  <c:v>9e-05</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271563827334145</c:v>
                </c:pt>
                <c:pt idx="1">
                  <c:v>0.11259239479032315</c:v>
                </c:pt>
                <c:pt idx="2">
                  <c:v>0.08628670517700043</c:v>
                </c:pt>
                <c:pt idx="3">
                  <c:v>0.08406421825765688</c:v>
                </c:pt>
                <c:pt idx="4">
                  <c:v>0.0809052775124273</c:v>
                </c:pt>
                <c:pt idx="5">
                  <c:v>0.030963073212561948</c:v>
                </c:pt>
                <c:pt idx="6">
                  <c:v>0.0183025640836522</c:v>
                </c:pt>
                <c:pt idx="7">
                  <c:v>0.016328331380482248</c:v>
                </c:pt>
                <c:pt idx="8">
                  <c:v>0.0004601703314360609</c:v>
                </c:pt>
                <c:pt idx="9">
                  <c:v>0.042940882521045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152</a:t>
                    </a:r>
                  </a:p>
                </c:rich>
              </c:tx>
              <c:showLegendKey val="0"/>
              <c:showVal val="1"/>
              <c:showCatName val="0"/>
              <c:showSerName val="0"/>
              <c:showPercent val="0"/>
              <c:showBubbleSize val="0"/>
            </c:dLbl>
            <c:dLbl>
              <c:idx val="2"/>
              <c:tx>
                <c:rich>
                  <a:bodyPr/>
                  <a:lstStyle/>
                  <a:p>
                    <a:pPr>
                      <a:defRPr sz="800">
                        <a:latin typeface="Nexa Book (Body)"/>
                      </a:defRPr>
                    </a:pPr>
                    <a:r>
                      <a:t>90</a:t>
                    </a:r>
                  </a:p>
                </c:rich>
              </c:tx>
              <c:showLegendKey val="0"/>
              <c:showVal val="1"/>
              <c:showCatName val="0"/>
              <c:showSerName val="0"/>
              <c:showPercent val="0"/>
              <c:showBubbleSize val="0"/>
            </c:dLbl>
            <c:dLbl>
              <c:idx val="3"/>
              <c:tx>
                <c:rich>
                  <a:bodyPr/>
                  <a:lstStyle/>
                  <a:p>
                    <a:pPr>
                      <a:defRPr sz="800">
                        <a:latin typeface="Nexa Book (Body)"/>
                      </a:defRPr>
                    </a:pPr>
                    <a:r>
                      <a:t>53</a:t>
                    </a:r>
                  </a:p>
                </c:rich>
              </c:tx>
              <c:showLegendKey val="0"/>
              <c:showVal val="1"/>
              <c:showCatName val="0"/>
              <c:showSerName val="0"/>
              <c:showPercent val="0"/>
              <c:showBubbleSize val="0"/>
            </c:dLbl>
            <c:dLbl>
              <c:idx val="4"/>
              <c:tx>
                <c:rich>
                  <a:bodyPr/>
                  <a:lstStyle/>
                  <a:p>
                    <a:pPr>
                      <a:defRPr sz="800">
                        <a:latin typeface="Nexa Book (Body)"/>
                      </a:defRPr>
                    </a:pPr>
                    <a:r>
                      <a:t>9</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Rem Types</c:v>
                </c:pt>
                <c:pt idx="3">
                  <c:v>Sensitive Skin</c:v>
                </c:pt>
                <c:pt idx="4">
                  <c:v>Dry Skin</c:v>
                </c:pt>
              </c:strCache>
            </c:strRef>
          </c:cat>
          <c:val>
            <c:numRef>
              <c:f>Sheet1!$B$2:$B$6</c:f>
              <c:numCache>
                <c:formatCode>General</c:formatCode>
                <c:ptCount val="5"/>
                <c:pt idx="0">
                  <c:v>302.56399</c:v>
                </c:pt>
                <c:pt idx="1">
                  <c:v>151.70335</c:v>
                </c:pt>
                <c:pt idx="2">
                  <c:v>89.5184</c:v>
                </c:pt>
                <c:pt idx="3">
                  <c:v>52.59488</c:v>
                </c:pt>
                <c:pt idx="4">
                  <c:v>8.7473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Rem Types</c:v>
                </c:pt>
                <c:pt idx="3">
                  <c:v>Sensitive Skin</c:v>
                </c:pt>
                <c:pt idx="4">
                  <c:v>Dry Skin</c:v>
                </c:pt>
              </c:strCache>
            </c:strRef>
          </c:cat>
          <c:val>
            <c:numRef>
              <c:f>Sheet1!$B$2:$B$6</c:f>
              <c:numCache>
                <c:formatCode>General</c:formatCode>
                <c:ptCount val="5"/>
                <c:pt idx="0">
                  <c:v>1.16891</c:v>
                </c:pt>
                <c:pt idx="1">
                  <c:v>0.88021</c:v>
                </c:pt>
                <c:pt idx="2">
                  <c:v>0.0</c:v>
                </c:pt>
                <c:pt idx="3">
                  <c:v>0.2887</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1588196109374347</c:v>
                </c:pt>
                <c:pt idx="1">
                  <c:v>-0.02339266234129167</c:v>
                </c:pt>
                <c:pt idx="2">
                  <c:v>-0.008157310632313217</c:v>
                </c:pt>
                <c:pt idx="3">
                  <c:v>-0.0005683335229589234</c:v>
                </c:pt>
                <c:pt idx="4">
                  <c:v>-0.0009058804699439774</c:v>
                </c:pt>
                <c:pt idx="5">
                  <c:v>0.01143599085713336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039222467664493</c:v>
                </c:pt>
                <c:pt idx="1">
                  <c:v>-0.012904801362561419</c:v>
                </c:pt>
                <c:pt idx="2">
                  <c:v>-0.015312811559069148</c:v>
                </c:pt>
                <c:pt idx="3">
                  <c:v>0.011423556964178336</c:v>
                </c:pt>
                <c:pt idx="4">
                  <c:v>-0.008157310632313217</c:v>
                </c:pt>
                <c:pt idx="5">
                  <c:v>-0.00882799500867966</c:v>
                </c:pt>
                <c:pt idx="6">
                  <c:v>-0.0005683335229589234</c:v>
                </c:pt>
                <c:pt idx="7">
                  <c:v>-0.0008420116815067748</c:v>
                </c:pt>
                <c:pt idx="8">
                  <c:v>-0.0014559420987783562</c:v>
                </c:pt>
                <c:pt idx="9">
                  <c:v>0.00625342422504428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5.3 %</a:t>
                    </a:r>
                  </a:p>
                </c:rich>
              </c:tx>
              <c:dLblPos val="ctr"/>
              <c:showLegendKey val="0"/>
              <c:showVal val="1"/>
              <c:showCatName val="0"/>
              <c:showSerName val="0"/>
              <c:showPercent val="0"/>
              <c:showBubbleSize val="0"/>
            </c:dLbl>
            <c:dLbl>
              <c:idx val="2"/>
              <c:tx>
                <c:rich>
                  <a:bodyPr/>
                  <a:lstStyle/>
                  <a:p>
                    <a:pPr>
                      <a:defRPr sz="800">
                        <a:latin typeface="Nexa Book"/>
                      </a:defRPr>
                    </a:pPr>
                    <a:r>
                      <a:t>20.7 %</a:t>
                    </a:r>
                  </a:p>
                </c:rich>
              </c:tx>
              <c:dLblPos val="ctr"/>
              <c:showLegendKey val="0"/>
              <c:showVal val="1"/>
              <c:showCatName val="0"/>
              <c:showSerName val="0"/>
              <c:showPercent val="0"/>
              <c:showBubbleSize val="0"/>
            </c:dLbl>
            <c:dLbl>
              <c:idx val="3"/>
              <c:tx>
                <c:rich>
                  <a:bodyPr/>
                  <a:lstStyle/>
                  <a:p>
                    <a:pPr>
                      <a:defRPr sz="800">
                        <a:latin typeface="Nexa Book"/>
                      </a:defRPr>
                    </a:pPr>
                    <a:r>
                      <a:t>14.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530259877777405</c:v>
                </c:pt>
                <c:pt idx="2">
                  <c:v>0.20683540343971155</c:v>
                </c:pt>
                <c:pt idx="3">
                  <c:v>0.1401386087825479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6 %</a:t>
                    </a:r>
                  </a:p>
                </c:rich>
              </c:tx>
              <c:dLblPos val="ctr"/>
              <c:showLegendKey val="0"/>
              <c:showVal val="1"/>
              <c:showCatName val="0"/>
              <c:showSerName val="0"/>
              <c:showPercent val="0"/>
              <c:showBubbleSize val="0"/>
            </c:dLbl>
            <c:dLbl>
              <c:idx val="2"/>
              <c:tx>
                <c:rich>
                  <a:bodyPr/>
                  <a:lstStyle/>
                  <a:p>
                    <a:pPr>
                      <a:defRPr sz="800">
                        <a:latin typeface="Nexa Book"/>
                      </a:defRPr>
                    </a:pPr>
                    <a:r>
                      <a:t>29.4 %</a:t>
                    </a:r>
                  </a:p>
                </c:rich>
              </c:tx>
              <c:dLblPos val="ctr"/>
              <c:showLegendKey val="0"/>
              <c:showVal val="1"/>
              <c:showCatName val="0"/>
              <c:showSerName val="0"/>
              <c:showPercent val="0"/>
              <c:showBubbleSize val="0"/>
            </c:dLbl>
            <c:dLbl>
              <c:idx val="3"/>
              <c:tx>
                <c:rich>
                  <a:bodyPr/>
                  <a:lstStyle/>
                  <a:p>
                    <a:pPr>
                      <a:defRPr sz="800">
                        <a:latin typeface="Nexa Book"/>
                      </a:defRPr>
                    </a:pPr>
                    <a:r>
                      <a:t>16.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463060175185568</c:v>
                </c:pt>
                <c:pt idx="2">
                  <c:v>0.29382619452945175</c:v>
                </c:pt>
                <c:pt idx="3">
                  <c:v>0.159867787951991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5809</a:t>
                    </a:r>
                  </a:p>
                </c:rich>
              </c:tx>
              <c:dLblPos val="ctr"/>
              <c:showLegendKey val="0"/>
              <c:showVal val="1"/>
              <c:showCatName val="0"/>
              <c:showSerName val="0"/>
              <c:showPercent val="0"/>
              <c:showBubbleSize val="0"/>
            </c:dLbl>
            <c:dLbl>
              <c:idx val="1"/>
              <c:tx>
                <c:rich>
                  <a:bodyPr/>
                  <a:lstStyle/>
                  <a:p>
                    <a:pPr>
                      <a:defRPr sz="800">
                        <a:latin typeface="Nexa Book"/>
                      </a:defRPr>
                    </a:pPr>
                    <a:r>
                      <a:t>3793</a:t>
                    </a:r>
                  </a:p>
                </c:rich>
              </c:tx>
              <c:dLblPos val="ctr"/>
              <c:showLegendKey val="0"/>
              <c:showVal val="1"/>
              <c:showCatName val="0"/>
              <c:showSerName val="0"/>
              <c:showPercent val="0"/>
              <c:showBubbleSize val="0"/>
            </c:dLbl>
            <c:dLbl>
              <c:idx val="2"/>
              <c:tx>
                <c:rich>
                  <a:bodyPr/>
                  <a:lstStyle/>
                  <a:p>
                    <a:pPr>
                      <a:defRPr sz="800">
                        <a:latin typeface="Nexa Book"/>
                      </a:defRPr>
                    </a:pPr>
                    <a:r>
                      <a:t>1202</a:t>
                    </a:r>
                  </a:p>
                </c:rich>
              </c:tx>
              <c:dLblPos val="ctr"/>
              <c:showLegendKey val="0"/>
              <c:showVal val="1"/>
              <c:showCatName val="0"/>
              <c:showSerName val="0"/>
              <c:showPercent val="0"/>
              <c:showBubbleSize val="0"/>
            </c:dLbl>
            <c:dLbl>
              <c:idx val="3"/>
              <c:tx>
                <c:rich>
                  <a:bodyPr/>
                  <a:lstStyle/>
                  <a:p>
                    <a:pPr>
                      <a:defRPr sz="800">
                        <a:latin typeface="Nexa Book"/>
                      </a:defRPr>
                    </a:pPr>
                    <a:r>
                      <a:t>81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580903883.0</c:v>
                </c:pt>
                <c:pt idx="1">
                  <c:v>379345332.0</c:v>
                </c:pt>
                <c:pt idx="2">
                  <c:v>120151489.0</c:v>
                </c:pt>
                <c:pt idx="3">
                  <c:v>8140706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02</a:t>
                    </a:r>
                  </a:p>
                </c:rich>
              </c:tx>
              <c:dLblPos val="ctr"/>
              <c:showLegendKey val="0"/>
              <c:showVal val="1"/>
              <c:showCatName val="0"/>
              <c:showSerName val="0"/>
              <c:showPercent val="0"/>
              <c:showBubbleSize val="0"/>
            </c:dLbl>
            <c:dLbl>
              <c:idx val="1"/>
              <c:tx>
                <c:rich>
                  <a:bodyPr/>
                  <a:lstStyle/>
                  <a:p>
                    <a:pPr>
                      <a:defRPr sz="800">
                        <a:latin typeface="Nexa Book"/>
                      </a:defRPr>
                    </a:pPr>
                    <a:r>
                      <a:t>274</a:t>
                    </a:r>
                  </a:p>
                </c:rich>
              </c:tx>
              <c:dLblPos val="ctr"/>
              <c:showLegendKey val="0"/>
              <c:showVal val="1"/>
              <c:showCatName val="0"/>
              <c:showSerName val="0"/>
              <c:showPercent val="0"/>
              <c:showBubbleSize val="0"/>
            </c:dLbl>
            <c:dLbl>
              <c:idx val="2"/>
              <c:tx>
                <c:rich>
                  <a:bodyPr/>
                  <a:lstStyle/>
                  <a:p>
                    <a:pPr>
                      <a:defRPr sz="800">
                        <a:latin typeface="Nexa Book"/>
                      </a:defRPr>
                    </a:pPr>
                    <a:r>
                      <a:t>147</a:t>
                    </a:r>
                  </a:p>
                </c:rich>
              </c:tx>
              <c:dLblPos val="ctr"/>
              <c:showLegendKey val="0"/>
              <c:showVal val="1"/>
              <c:showCatName val="0"/>
              <c:showSerName val="0"/>
              <c:showPercent val="0"/>
              <c:showBubbleSize val="0"/>
            </c:dLbl>
            <c:dLbl>
              <c:idx val="3"/>
              <c:tx>
                <c:rich>
                  <a:bodyPr/>
                  <a:lstStyle/>
                  <a:p>
                    <a:pPr>
                      <a:defRPr sz="800">
                        <a:latin typeface="Nexa Book"/>
                      </a:defRPr>
                    </a:pPr>
                    <a:r>
                      <a:t>8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50171827.0</c:v>
                </c:pt>
                <c:pt idx="1">
                  <c:v>27409171.0</c:v>
                </c:pt>
                <c:pt idx="2">
                  <c:v>14741797.0</c:v>
                </c:pt>
                <c:pt idx="3">
                  <c:v>802085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2.2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3514179694525508</c:v>
                </c:pt>
                <c:pt idx="2">
                  <c:v>0.022029273046268977</c:v>
                </c:pt>
                <c:pt idx="3">
                  <c:v>-0.00851509335174355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9 %</a:t>
                    </a:r>
                  </a:p>
                </c:rich>
              </c:tx>
              <c:dLblPos val="ctr"/>
              <c:showLegendKey val="0"/>
              <c:showVal val="1"/>
              <c:showCatName val="0"/>
              <c:showSerName val="0"/>
              <c:showPercent val="0"/>
              <c:showBubbleSize val="0"/>
            </c:dLbl>
            <c:dLbl>
              <c:idx val="2"/>
              <c:tx>
                <c:rich>
                  <a:bodyPr/>
                  <a:lstStyle/>
                  <a:p>
                    <a:pPr>
                      <a:defRPr sz="800">
                        <a:latin typeface="Nexa Book"/>
                      </a:defRPr>
                    </a:pPr>
                    <a:r>
                      <a:t>2.6 %</a:t>
                    </a:r>
                  </a:p>
                </c:rich>
              </c:tx>
              <c:dLblPos val="ctr"/>
              <c:showLegendKey val="0"/>
              <c:showVal val="1"/>
              <c:showCatName val="0"/>
              <c:showSerName val="0"/>
              <c:showPercent val="0"/>
              <c:showBubbleSize val="0"/>
            </c:dLbl>
            <c:dLbl>
              <c:idx val="3"/>
              <c:tx>
                <c:rich>
                  <a:bodyPr/>
                  <a:lstStyle/>
                  <a:p>
                    <a:pPr>
                      <a:defRPr sz="800">
                        <a:latin typeface="Nexa Book"/>
                      </a:defRPr>
                    </a:pPr>
                    <a:r>
                      <a:t>-1.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09424352350566267</c:v>
                </c:pt>
                <c:pt idx="2">
                  <c:v>0.02609047052848057</c:v>
                </c:pt>
                <c:pt idx="3">
                  <c:v>-0.0166661181779142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3.8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8381566409171919</c:v>
                </c:pt>
                <c:pt idx="2">
                  <c:v>0.161843359082808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8.5 %</a:t>
                    </a:r>
                  </a:p>
                </c:rich>
              </c:tx>
              <c:dLblPos val="ctr"/>
              <c:showLegendKey val="0"/>
              <c:showVal val="1"/>
              <c:showCatName val="0"/>
              <c:showSerName val="0"/>
              <c:showPercent val="0"/>
              <c:showBubbleSize val="0"/>
            </c:dLbl>
            <c:dLbl>
              <c:idx val="2"/>
              <c:tx>
                <c:rich>
                  <a:bodyPr/>
                  <a:lstStyle/>
                  <a:p>
                    <a:pPr>
                      <a:defRPr sz="800">
                        <a:latin typeface="Nexa Book"/>
                      </a:defRPr>
                    </a:pPr>
                    <a:r>
                      <a:t>21.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7851097776518454</c:v>
                </c:pt>
                <c:pt idx="2">
                  <c:v>0.2148902223481545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84</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33861791.0</c:v>
                </c:pt>
                <c:pt idx="1">
                  <c:v>28381485.0</c:v>
                </c:pt>
                <c:pt idx="2">
                  <c:v>54803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6</a:t>
                    </a:r>
                  </a:p>
                </c:rich>
              </c:tx>
              <c:dLblPos val="ctr"/>
              <c:showLegendKey val="0"/>
              <c:showVal val="1"/>
              <c:showCatName val="0"/>
              <c:showSerName val="0"/>
              <c:showPercent val="0"/>
              <c:showBubbleSize val="0"/>
            </c:dLbl>
            <c:dLbl>
              <c:idx val="1"/>
              <c:tx>
                <c:rich>
                  <a:bodyPr/>
                  <a:lstStyle/>
                  <a:p>
                    <a:pPr>
                      <a:defRPr sz="800">
                        <a:latin typeface="Nexa Book"/>
                      </a:defRPr>
                    </a:pPr>
                    <a:r>
                      <a:t>83</a:t>
                    </a:r>
                  </a:p>
                </c:rich>
              </c:tx>
              <c:dLblPos val="ctr"/>
              <c:showLegendKey val="0"/>
              <c:showVal val="1"/>
              <c:showCatName val="0"/>
              <c:showSerName val="0"/>
              <c:showPercent val="0"/>
              <c:showBubbleSize val="0"/>
            </c:dLbl>
            <c:dLbl>
              <c:idx val="2"/>
              <c:tx>
                <c:rich>
                  <a:bodyPr/>
                  <a:lstStyle/>
                  <a:p>
                    <a:pPr>
                      <a:defRPr sz="800">
                        <a:latin typeface="Nexa Book"/>
                      </a:defRPr>
                    </a:pPr>
                    <a:r>
                      <a:t>2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584167.0</c:v>
                </c:pt>
                <c:pt idx="1">
                  <c:v>8309733.0</c:v>
                </c:pt>
                <c:pt idx="2">
                  <c:v>2274434.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13430089040203819</c:v>
                </c:pt>
                <c:pt idx="2">
                  <c:v>-0.0134300890402038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7 %</a:t>
                    </a:r>
                  </a:p>
                </c:rich>
              </c:tx>
              <c:dLblPos val="ctr"/>
              <c:showLegendKey val="0"/>
              <c:showVal val="1"/>
              <c:showCatName val="0"/>
              <c:showSerName val="0"/>
              <c:showPercent val="0"/>
              <c:showBubbleSize val="0"/>
            </c:dLbl>
            <c:dLbl>
              <c:idx val="2"/>
              <c:tx>
                <c:rich>
                  <a:bodyPr/>
                  <a:lstStyle/>
                  <a:p>
                    <a:pPr>
                      <a:defRPr sz="800">
                        <a:latin typeface="Nexa Book"/>
                      </a:defRPr>
                    </a:pPr>
                    <a:r>
                      <a:t>-2.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26976318633843976</c:v>
                </c:pt>
                <c:pt idx="2">
                  <c:v>-0.0269763186338440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8.3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0.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7828279824994165</c:v>
                </c:pt>
                <c:pt idx="2">
                  <c:v>0.11238722161519277</c:v>
                </c:pt>
                <c:pt idx="3">
                  <c:v>0.1047847958853907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0 %</a:t>
                    </a:r>
                  </a:p>
                </c:rich>
              </c:tx>
              <c:dLblPos val="ctr"/>
              <c:showLegendKey val="0"/>
              <c:showVal val="1"/>
              <c:showCatName val="0"/>
              <c:showSerName val="0"/>
              <c:showPercent val="0"/>
              <c:showBubbleSize val="0"/>
            </c:dLbl>
            <c:dLbl>
              <c:idx val="2"/>
              <c:tx>
                <c:rich>
                  <a:bodyPr/>
                  <a:lstStyle/>
                  <a:p>
                    <a:pPr>
                      <a:defRPr sz="800">
                        <a:latin typeface="Nexa Book"/>
                      </a:defRPr>
                    </a:pPr>
                    <a:r>
                      <a:t>34.8 %</a:t>
                    </a:r>
                  </a:p>
                </c:rich>
              </c:tx>
              <c:dLblPos val="ctr"/>
              <c:showLegendKey val="0"/>
              <c:showVal val="1"/>
              <c:showCatName val="0"/>
              <c:showSerName val="0"/>
              <c:showPercent val="0"/>
              <c:showBubbleSize val="0"/>
            </c:dLbl>
            <c:dLbl>
              <c:idx val="3"/>
              <c:tx>
                <c:rich>
                  <a:bodyPr/>
                  <a:lstStyle/>
                  <a:p>
                    <a:pPr>
                      <a:defRPr sz="800">
                        <a:latin typeface="Nexa Book"/>
                      </a:defRPr>
                    </a:pPr>
                    <a:r>
                      <a:t>9.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5604028526510911</c:v>
                </c:pt>
                <c:pt idx="2">
                  <c:v>0.3477152908740645</c:v>
                </c:pt>
                <c:pt idx="3">
                  <c:v>0.091881856474844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696</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27</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216597578.0</c:v>
                </c:pt>
                <c:pt idx="1">
                  <c:v>169558645.0</c:v>
                </c:pt>
                <c:pt idx="2">
                  <c:v>24342800.0</c:v>
                </c:pt>
                <c:pt idx="3">
                  <c:v>2269613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86</a:t>
                    </a:r>
                  </a:p>
                </c:rich>
              </c:tx>
              <c:dLblPos val="ctr"/>
              <c:showLegendKey val="0"/>
              <c:showVal val="1"/>
              <c:showCatName val="0"/>
              <c:showSerName val="0"/>
              <c:showPercent val="0"/>
              <c:showBubbleSize val="0"/>
            </c:dLbl>
            <c:dLbl>
              <c:idx val="1"/>
              <c:tx>
                <c:rich>
                  <a:bodyPr/>
                  <a:lstStyle/>
                  <a:p>
                    <a:pPr>
                      <a:defRPr sz="800">
                        <a:latin typeface="Nexa Book"/>
                      </a:defRPr>
                    </a:pPr>
                    <a:r>
                      <a:t>104</a:t>
                    </a:r>
                  </a:p>
                </c:rich>
              </c:tx>
              <c:dLblPos val="ctr"/>
              <c:showLegendKey val="0"/>
              <c:showVal val="1"/>
              <c:showCatName val="0"/>
              <c:showSerName val="0"/>
              <c:showPercent val="0"/>
              <c:showBubbleSize val="0"/>
            </c:dLbl>
            <c:dLbl>
              <c:idx val="2"/>
              <c:tx>
                <c:rich>
                  <a:bodyPr/>
                  <a:lstStyle/>
                  <a:p>
                    <a:pPr>
                      <a:defRPr sz="800">
                        <a:latin typeface="Nexa Book"/>
                      </a:defRPr>
                    </a:pPr>
                    <a:r>
                      <a:t>65</a:t>
                    </a:r>
                  </a:p>
                </c:rich>
              </c:tx>
              <c:dLblPos val="ctr"/>
              <c:showLegendKey val="0"/>
              <c:showVal val="1"/>
              <c:showCatName val="0"/>
              <c:showSerName val="0"/>
              <c:showPercent val="0"/>
              <c:showBubbleSize val="0"/>
            </c:dLbl>
            <c:dLbl>
              <c:idx val="3"/>
              <c:tx>
                <c:rich>
                  <a:bodyPr/>
                  <a:lstStyle/>
                  <a:p>
                    <a:pPr>
                      <a:defRPr sz="800">
                        <a:latin typeface="Nexa Book"/>
                      </a:defRPr>
                    </a:pPr>
                    <a:r>
                      <a:t>17</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8626463.0</c:v>
                </c:pt>
                <c:pt idx="1">
                  <c:v>10438323.0</c:v>
                </c:pt>
                <c:pt idx="2">
                  <c:v>6476706.0</c:v>
                </c:pt>
                <c:pt idx="3">
                  <c:v>1711434.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1.5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1861084907150301</c:v>
                </c:pt>
                <c:pt idx="2">
                  <c:v>0.0031109231152201128</c:v>
                </c:pt>
                <c:pt idx="3">
                  <c:v>0.01549992595628298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dLbl>
              <c:idx val="3"/>
              <c:tx>
                <c:rich>
                  <a:bodyPr/>
                  <a:lstStyle/>
                  <a:p>
                    <a:pPr>
                      <a:defRPr sz="800">
                        <a:latin typeface="Nexa Book"/>
                      </a:defRPr>
                    </a:pPr>
                    <a:r>
                      <a:t>3.5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22021323377548363</c:v>
                </c:pt>
                <c:pt idx="2">
                  <c:v>-0.012799066226867273</c:v>
                </c:pt>
                <c:pt idx="3">
                  <c:v>0.034820389604415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3.8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8381566409171919</c:v>
                </c:pt>
                <c:pt idx="2">
                  <c:v>0.161843359082808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1.0 %</a:t>
                    </a:r>
                  </a:p>
                </c:rich>
              </c:tx>
              <c:dLblPos val="ctr"/>
              <c:showLegendKey val="0"/>
              <c:showVal val="1"/>
              <c:showCatName val="0"/>
              <c:showSerName val="0"/>
              <c:showPercent val="0"/>
              <c:showBubbleSize val="0"/>
            </c:dLbl>
            <c:dLbl>
              <c:idx val="2"/>
              <c:tx>
                <c:rich>
                  <a:bodyPr/>
                  <a:lstStyle/>
                  <a:p>
                    <a:pPr>
                      <a:defRPr sz="800">
                        <a:latin typeface="Nexa Book"/>
                      </a:defRPr>
                    </a:pPr>
                    <a:r>
                      <a:t>19.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8099118658922192</c:v>
                </c:pt>
                <c:pt idx="2">
                  <c:v>0.19008813410778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84</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33861791.0</c:v>
                </c:pt>
                <c:pt idx="1">
                  <c:v>28381485.0</c:v>
                </c:pt>
                <c:pt idx="2">
                  <c:v>54803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3</a:t>
                    </a:r>
                  </a:p>
                </c:rich>
              </c:tx>
              <c:dLblPos val="ctr"/>
              <c:showLegendKey val="0"/>
              <c:showVal val="1"/>
              <c:showCatName val="0"/>
              <c:showSerName val="0"/>
              <c:showPercent val="0"/>
              <c:showBubbleSize val="0"/>
            </c:dLbl>
            <c:dLbl>
              <c:idx val="1"/>
              <c:tx>
                <c:rich>
                  <a:bodyPr/>
                  <a:lstStyle/>
                  <a:p>
                    <a:pPr>
                      <a:defRPr sz="800">
                        <a:latin typeface="Nexa Book"/>
                      </a:defRPr>
                    </a:pPr>
                    <a:r>
                      <a:t>83</a:t>
                    </a:r>
                  </a:p>
                </c:rich>
              </c:tx>
              <c:dLblPos val="ctr"/>
              <c:showLegendKey val="0"/>
              <c:showVal val="1"/>
              <c:showCatName val="0"/>
              <c:showSerName val="0"/>
              <c:showPercent val="0"/>
              <c:showBubbleSize val="0"/>
            </c:dLbl>
            <c:dLbl>
              <c:idx val="2"/>
              <c:tx>
                <c:rich>
                  <a:bodyPr/>
                  <a:lstStyle/>
                  <a:p>
                    <a:pPr>
                      <a:defRPr sz="800">
                        <a:latin typeface="Nexa Book"/>
                      </a:defRPr>
                    </a:pPr>
                    <a:r>
                      <a:t>2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260046.0</c:v>
                </c:pt>
                <c:pt idx="1">
                  <c:v>8309733.0</c:v>
                </c:pt>
                <c:pt idx="2">
                  <c:v>1950313.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13430089040203819</c:v>
                </c:pt>
                <c:pt idx="2">
                  <c:v>-0.0134300890402038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2 %</a:t>
                    </a:r>
                  </a:p>
                </c:rich>
              </c:tx>
              <c:dLblPos val="ctr"/>
              <c:showLegendKey val="0"/>
              <c:showVal val="1"/>
              <c:showCatName val="0"/>
              <c:showSerName val="0"/>
              <c:showPercent val="0"/>
              <c:showBubbleSize val="0"/>
            </c:dLbl>
            <c:dLbl>
              <c:idx val="2"/>
              <c:tx>
                <c:rich>
                  <a:bodyPr/>
                  <a:lstStyle/>
                  <a:p>
                    <a:pPr>
                      <a:defRPr sz="800">
                        <a:latin typeface="Nexa Book"/>
                      </a:defRPr>
                    </a:pPr>
                    <a:r>
                      <a:t>-5.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5177840687421775</c:v>
                </c:pt>
                <c:pt idx="2">
                  <c:v>-0.051778406874217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9 %</a:t>
                    </a:r>
                  </a:p>
                </c:rich>
              </c:tx>
              <c:dLblPos val="ctr"/>
              <c:showLegendKey val="0"/>
              <c:showVal val="1"/>
              <c:showCatName val="0"/>
              <c:showSerName val="0"/>
              <c:showPercent val="0"/>
              <c:showBubbleSize val="0"/>
            </c:dLbl>
            <c:dLbl>
              <c:idx val="2"/>
              <c:tx>
                <c:rich>
                  <a:bodyPr/>
                  <a:lstStyle/>
                  <a:p>
                    <a:pPr>
                      <a:defRPr sz="800">
                        <a:latin typeface="Nexa Book"/>
                      </a:defRPr>
                    </a:pPr>
                    <a:r>
                      <a:t>29.5 %</a:t>
                    </a:r>
                  </a:p>
                </c:rich>
              </c:tx>
              <c:dLblPos val="ctr"/>
              <c:showLegendKey val="0"/>
              <c:showVal val="1"/>
              <c:showCatName val="0"/>
              <c:showSerName val="0"/>
              <c:showPercent val="0"/>
              <c:showBubbleSize val="0"/>
            </c:dLbl>
            <c:dLbl>
              <c:idx val="3"/>
              <c:tx>
                <c:rich>
                  <a:bodyPr/>
                  <a:lstStyle/>
                  <a:p>
                    <a:pPr>
                      <a:defRPr sz="800">
                        <a:latin typeface="Nexa Book"/>
                      </a:defRPr>
                    </a:pPr>
                    <a:r>
                      <a:t>15.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489732596982984</c:v>
                </c:pt>
                <c:pt idx="2">
                  <c:v>0.29492199710115324</c:v>
                </c:pt>
                <c:pt idx="3">
                  <c:v>0.156104743200548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7 %</a:t>
                    </a:r>
                  </a:p>
                </c:rich>
              </c:tx>
              <c:dLblPos val="ctr"/>
              <c:showLegendKey val="0"/>
              <c:showVal val="1"/>
              <c:showCatName val="0"/>
              <c:showSerName val="0"/>
              <c:showPercent val="0"/>
              <c:showBubbleSize val="0"/>
            </c:dLbl>
            <c:dLbl>
              <c:idx val="2"/>
              <c:tx>
                <c:rich>
                  <a:bodyPr/>
                  <a:lstStyle/>
                  <a:p>
                    <a:pPr>
                      <a:defRPr sz="800">
                        <a:latin typeface="Nexa Book"/>
                      </a:defRPr>
                    </a:pPr>
                    <a:r>
                      <a:t>40.3 %</a:t>
                    </a:r>
                  </a:p>
                </c:rich>
              </c:tx>
              <c:dLblPos val="ctr"/>
              <c:showLegendKey val="0"/>
              <c:showVal val="1"/>
              <c:showCatName val="0"/>
              <c:showSerName val="0"/>
              <c:showPercent val="0"/>
              <c:showBubbleSize val="0"/>
            </c:dLbl>
            <c:dLbl>
              <c:idx val="3"/>
              <c:tx>
                <c:rich>
                  <a:bodyPr/>
                  <a:lstStyle/>
                  <a:p>
                    <a:pPr>
                      <a:defRPr sz="800">
                        <a:latin typeface="Nexa Book"/>
                      </a:defRPr>
                    </a:pPr>
                    <a:r>
                      <a:t>54.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56929745870633035</c:v>
                </c:pt>
                <c:pt idx="2">
                  <c:v>0.4034954550302057</c:v>
                </c:pt>
                <c:pt idx="3">
                  <c:v>0.539574799099161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04</a:t>
                    </a:r>
                  </a:p>
                </c:rich>
              </c:tx>
              <c:dLblPos val="ctr"/>
              <c:showLegendKey val="0"/>
              <c:showVal val="1"/>
              <c:showCatName val="0"/>
              <c:showSerName val="0"/>
              <c:showPercent val="0"/>
              <c:showBubbleSize val="0"/>
            </c:dLbl>
            <c:dLbl>
              <c:idx val="1"/>
              <c:tx>
                <c:rich>
                  <a:bodyPr/>
                  <a:lstStyle/>
                  <a:p>
                    <a:pPr>
                      <a:defRPr sz="800">
                        <a:latin typeface="Nexa Book"/>
                      </a:defRPr>
                    </a:pPr>
                    <a:r>
                      <a:t>1814</a:t>
                    </a:r>
                  </a:p>
                </c:rich>
              </c:tx>
              <c:dLblPos val="ctr"/>
              <c:showLegendKey val="0"/>
              <c:showVal val="1"/>
              <c:showCatName val="0"/>
              <c:showSerName val="0"/>
              <c:showPercent val="0"/>
              <c:showBubbleSize val="0"/>
            </c:dLbl>
            <c:dLbl>
              <c:idx val="2"/>
              <c:tx>
                <c:rich>
                  <a:bodyPr/>
                  <a:lstStyle/>
                  <a:p>
                    <a:pPr>
                      <a:defRPr sz="800">
                        <a:latin typeface="Nexa Book"/>
                      </a:defRPr>
                    </a:pPr>
                    <a:r>
                      <a:t>975</a:t>
                    </a:r>
                  </a:p>
                </c:rich>
              </c:tx>
              <c:dLblPos val="ctr"/>
              <c:showLegendKey val="0"/>
              <c:showVal val="1"/>
              <c:showCatName val="0"/>
              <c:showSerName val="0"/>
              <c:showPercent val="0"/>
              <c:showBubbleSize val="0"/>
            </c:dLbl>
            <c:dLbl>
              <c:idx val="3"/>
              <c:tx>
                <c:rich>
                  <a:bodyPr/>
                  <a:lstStyle/>
                  <a:p>
                    <a:pPr>
                      <a:defRPr sz="800">
                        <a:latin typeface="Nexa Book"/>
                      </a:defRPr>
                    </a:pPr>
                    <a:r>
                      <a:t>5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30444514.0</c:v>
                </c:pt>
                <c:pt idx="1">
                  <c:v>181405202.0</c:v>
                </c:pt>
                <c:pt idx="2">
                  <c:v>97455356.0</c:v>
                </c:pt>
                <c:pt idx="3">
                  <c:v>5158395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0.1</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59407.0</c:v>
                </c:pt>
                <c:pt idx="1">
                  <c:v>9075.0</c:v>
                </c:pt>
                <c:pt idx="2">
                  <c:v>64320.0</c:v>
                </c:pt>
                <c:pt idx="3">
                  <c:v>8601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2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1.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1674471288695809</c:v>
                </c:pt>
                <c:pt idx="2">
                  <c:v>0.027743503646100565</c:v>
                </c:pt>
                <c:pt idx="3">
                  <c:v>-0.0160690323574047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7 %</a:t>
                    </a:r>
                  </a:p>
                </c:rich>
              </c:tx>
              <c:dLblPos val="ctr"/>
              <c:showLegendKey val="0"/>
              <c:showVal val="1"/>
              <c:showCatName val="0"/>
              <c:showSerName val="0"/>
              <c:showPercent val="0"/>
              <c:showBubbleSize val="0"/>
            </c:dLbl>
            <c:dLbl>
              <c:idx val="2"/>
              <c:tx>
                <c:rich>
                  <a:bodyPr/>
                  <a:lstStyle/>
                  <a:p>
                    <a:pPr>
                      <a:defRPr sz="800">
                        <a:latin typeface="Nexa Book"/>
                      </a:defRPr>
                    </a:pPr>
                    <a:r>
                      <a:t>28.4 %</a:t>
                    </a:r>
                  </a:p>
                </c:rich>
              </c:tx>
              <c:dLblPos val="ctr"/>
              <c:showLegendKey val="0"/>
              <c:showVal val="1"/>
              <c:showCatName val="0"/>
              <c:showSerName val="0"/>
              <c:showPercent val="0"/>
              <c:showBubbleSize val="0"/>
            </c:dLbl>
            <c:dLbl>
              <c:idx val="3"/>
              <c:tx>
                <c:rich>
                  <a:bodyPr/>
                  <a:lstStyle/>
                  <a:p>
                    <a:pPr>
                      <a:defRPr sz="800">
                        <a:latin typeface="Nexa Book"/>
                      </a:defRPr>
                    </a:pPr>
                    <a:r>
                      <a:t>-26.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6759829277320996</c:v>
                </c:pt>
                <c:pt idx="2">
                  <c:v>0.28350984483883535</c:v>
                </c:pt>
                <c:pt idx="3">
                  <c:v>-0.2667500155615143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3.8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8381566409171919</c:v>
                </c:pt>
                <c:pt idx="2">
                  <c:v>0.161843359082808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8.5 %</a:t>
                    </a:r>
                  </a:p>
                </c:rich>
              </c:tx>
              <c:dLblPos val="ctr"/>
              <c:showLegendKey val="0"/>
              <c:showVal val="1"/>
              <c:showCatName val="0"/>
              <c:showSerName val="0"/>
              <c:showPercent val="0"/>
              <c:showBubbleSize val="0"/>
            </c:dLbl>
            <c:dLbl>
              <c:idx val="2"/>
              <c:tx>
                <c:rich>
                  <a:bodyPr/>
                  <a:lstStyle/>
                  <a:p>
                    <a:pPr>
                      <a:defRPr sz="800">
                        <a:latin typeface="Nexa Book"/>
                      </a:defRPr>
                    </a:pPr>
                    <a:r>
                      <a:t>21.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7851097776518454</c:v>
                </c:pt>
                <c:pt idx="2">
                  <c:v>0.2148902223481545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84</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33861791.0</c:v>
                </c:pt>
                <c:pt idx="1">
                  <c:v>28381485.0</c:v>
                </c:pt>
                <c:pt idx="2">
                  <c:v>54803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6</a:t>
                    </a:r>
                  </a:p>
                </c:rich>
              </c:tx>
              <c:dLblPos val="ctr"/>
              <c:showLegendKey val="0"/>
              <c:showVal val="1"/>
              <c:showCatName val="0"/>
              <c:showSerName val="0"/>
              <c:showPercent val="0"/>
              <c:showBubbleSize val="0"/>
            </c:dLbl>
            <c:dLbl>
              <c:idx val="1"/>
              <c:tx>
                <c:rich>
                  <a:bodyPr/>
                  <a:lstStyle/>
                  <a:p>
                    <a:pPr>
                      <a:defRPr sz="800">
                        <a:latin typeface="Nexa Book"/>
                      </a:defRPr>
                    </a:pPr>
                    <a:r>
                      <a:t>83</a:t>
                    </a:r>
                  </a:p>
                </c:rich>
              </c:tx>
              <c:dLblPos val="ctr"/>
              <c:showLegendKey val="0"/>
              <c:showVal val="1"/>
              <c:showCatName val="0"/>
              <c:showSerName val="0"/>
              <c:showPercent val="0"/>
              <c:showBubbleSize val="0"/>
            </c:dLbl>
            <c:dLbl>
              <c:idx val="2"/>
              <c:tx>
                <c:rich>
                  <a:bodyPr/>
                  <a:lstStyle/>
                  <a:p>
                    <a:pPr>
                      <a:defRPr sz="800">
                        <a:latin typeface="Nexa Book"/>
                      </a:defRPr>
                    </a:pPr>
                    <a:r>
                      <a:t>2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584167.0</c:v>
                </c:pt>
                <c:pt idx="1">
                  <c:v>8309733.0</c:v>
                </c:pt>
                <c:pt idx="2">
                  <c:v>2274434.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13430089040203819</c:v>
                </c:pt>
                <c:pt idx="2">
                  <c:v>-0.0134300890402038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7 %</a:t>
                    </a:r>
                  </a:p>
                </c:rich>
              </c:tx>
              <c:dLblPos val="ctr"/>
              <c:showLegendKey val="0"/>
              <c:showVal val="1"/>
              <c:showCatName val="0"/>
              <c:showSerName val="0"/>
              <c:showPercent val="0"/>
              <c:showBubbleSize val="0"/>
            </c:dLbl>
            <c:dLbl>
              <c:idx val="2"/>
              <c:tx>
                <c:rich>
                  <a:bodyPr/>
                  <a:lstStyle/>
                  <a:p>
                    <a:pPr>
                      <a:defRPr sz="800">
                        <a:latin typeface="Nexa Book"/>
                      </a:defRPr>
                    </a:pPr>
                    <a:r>
                      <a:t>-2.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26976318633843976</c:v>
                </c:pt>
                <c:pt idx="2">
                  <c:v>-0.0269763186338440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8 %</a:t>
                    </a:r>
                  </a:p>
                </c:rich>
              </c:tx>
              <c:dLblPos val="ctr"/>
              <c:showLegendKey val="0"/>
              <c:showVal val="1"/>
              <c:showCatName val="0"/>
              <c:showSerName val="0"/>
              <c:showPercent val="0"/>
              <c:showBubbleSize val="0"/>
            </c:dLbl>
            <c:dLbl>
              <c:idx val="2"/>
              <c:tx>
                <c:rich>
                  <a:bodyPr/>
                  <a:lstStyle/>
                  <a:p>
                    <a:pPr>
                      <a:defRPr sz="800">
                        <a:latin typeface="Nexa Book"/>
                      </a:defRPr>
                    </a:pPr>
                    <a:r>
                      <a:t>29.6 %</a:t>
                    </a:r>
                  </a:p>
                </c:rich>
              </c:tx>
              <c:dLblPos val="ctr"/>
              <c:showLegendKey val="0"/>
              <c:showVal val="1"/>
              <c:showCatName val="0"/>
              <c:showSerName val="0"/>
              <c:showPercent val="0"/>
              <c:showBubbleSize val="0"/>
            </c:dLbl>
            <c:dLbl>
              <c:idx val="3"/>
              <c:tx>
                <c:rich>
                  <a:bodyPr/>
                  <a:lstStyle/>
                  <a:p>
                    <a:pPr>
                      <a:defRPr sz="800">
                        <a:latin typeface="Nexa Book"/>
                      </a:defRPr>
                    </a:pPr>
                    <a:r>
                      <a:t>14.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582824164298615</c:v>
                </c:pt>
                <c:pt idx="2">
                  <c:v>0.29595287514160196</c:v>
                </c:pt>
                <c:pt idx="3">
                  <c:v>0.145764708428536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3.5 %</a:t>
                    </a:r>
                  </a:p>
                </c:rich>
              </c:tx>
              <c:dLblPos val="ctr"/>
              <c:showLegendKey val="0"/>
              <c:showVal val="1"/>
              <c:showCatName val="0"/>
              <c:showSerName val="0"/>
              <c:showPercent val="0"/>
              <c:showBubbleSize val="0"/>
            </c:dLbl>
            <c:dLbl>
              <c:idx val="2"/>
              <c:tx>
                <c:rich>
                  <a:bodyPr/>
                  <a:lstStyle/>
                  <a:p>
                    <a:pPr>
                      <a:defRPr sz="800">
                        <a:latin typeface="Nexa Book"/>
                      </a:defRPr>
                    </a:pPr>
                    <a:r>
                      <a:t>22.4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34854077692367</c:v>
                </c:pt>
                <c:pt idx="2">
                  <c:v>0.22448791530872342</c:v>
                </c:pt>
                <c:pt idx="3">
                  <c:v>0.1406580069989095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736</a:t>
                    </a:r>
                  </a:p>
                </c:rich>
              </c:tx>
              <c:dLblPos val="ctr"/>
              <c:showLegendKey val="0"/>
              <c:showVal val="1"/>
              <c:showCatName val="0"/>
              <c:showSerName val="0"/>
              <c:showPercent val="0"/>
              <c:showBubbleSize val="0"/>
            </c:dLbl>
            <c:dLbl>
              <c:idx val="1"/>
              <c:tx>
                <c:rich>
                  <a:bodyPr/>
                  <a:lstStyle/>
                  <a:p>
                    <a:pPr>
                      <a:defRPr sz="800">
                        <a:latin typeface="Nexa Book"/>
                      </a:defRPr>
                    </a:pPr>
                    <a:r>
                      <a:t>969</a:t>
                    </a:r>
                  </a:p>
                </c:rich>
              </c:tx>
              <c:dLblPos val="ctr"/>
              <c:showLegendKey val="0"/>
              <c:showVal val="1"/>
              <c:showCatName val="0"/>
              <c:showSerName val="0"/>
              <c:showPercent val="0"/>
              <c:showBubbleSize val="0"/>
            </c:dLbl>
            <c:dLbl>
              <c:idx val="2"/>
              <c:tx>
                <c:rich>
                  <a:bodyPr/>
                  <a:lstStyle/>
                  <a:p>
                    <a:pPr>
                      <a:defRPr sz="800">
                        <a:latin typeface="Nexa Book"/>
                      </a:defRPr>
                    </a:pPr>
                    <a:r>
                      <a:t>514</a:t>
                    </a:r>
                  </a:p>
                </c:rich>
              </c:tx>
              <c:dLblPos val="ctr"/>
              <c:showLegendKey val="0"/>
              <c:showVal val="1"/>
              <c:showCatName val="0"/>
              <c:showSerName val="0"/>
              <c:showPercent val="0"/>
              <c:showBubbleSize val="0"/>
            </c:dLbl>
            <c:dLbl>
              <c:idx val="3"/>
              <c:tx>
                <c:rich>
                  <a:bodyPr/>
                  <a:lstStyle/>
                  <a:p>
                    <a:pPr>
                      <a:defRPr sz="800">
                        <a:latin typeface="Nexa Book"/>
                      </a:defRPr>
                    </a:pPr>
                    <a:r>
                      <a:t>25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3593137.0</c:v>
                </c:pt>
                <c:pt idx="1">
                  <c:v>96913996.0</c:v>
                </c:pt>
                <c:pt idx="2">
                  <c:v>51375388.0</c:v>
                </c:pt>
                <c:pt idx="3">
                  <c:v>253037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12</a:t>
                    </a:r>
                  </a:p>
                </c:rich>
              </c:tx>
              <c:dLblPos val="ctr"/>
              <c:showLegendKey val="0"/>
              <c:showVal val="1"/>
              <c:showCatName val="0"/>
              <c:showSerName val="0"/>
              <c:showPercent val="0"/>
              <c:showBubbleSize val="0"/>
            </c:dLbl>
            <c:dLbl>
              <c:idx val="1"/>
              <c:tx>
                <c:rich>
                  <a:bodyPr/>
                  <a:lstStyle/>
                  <a:p>
                    <a:pPr>
                      <a:defRPr sz="800">
                        <a:latin typeface="Nexa Book"/>
                      </a:defRPr>
                    </a:pPr>
                    <a:r>
                      <a:t>388</a:t>
                    </a:r>
                  </a:p>
                </c:rich>
              </c:tx>
              <c:dLblPos val="ctr"/>
              <c:showLegendKey val="0"/>
              <c:showVal val="1"/>
              <c:showCatName val="0"/>
              <c:showSerName val="0"/>
              <c:showPercent val="0"/>
              <c:showBubbleSize val="0"/>
            </c:dLbl>
            <c:dLbl>
              <c:idx val="2"/>
              <c:tx>
                <c:rich>
                  <a:bodyPr/>
                  <a:lstStyle/>
                  <a:p>
                    <a:pPr>
                      <a:defRPr sz="800">
                        <a:latin typeface="Nexa Book"/>
                      </a:defRPr>
                    </a:pPr>
                    <a:r>
                      <a:t>137</a:t>
                    </a:r>
                  </a:p>
                </c:rich>
              </c:tx>
              <c:dLblPos val="ctr"/>
              <c:showLegendKey val="0"/>
              <c:showVal val="1"/>
              <c:showCatName val="0"/>
              <c:showSerName val="0"/>
              <c:showPercent val="0"/>
              <c:showBubbleSize val="0"/>
            </c:dLbl>
            <c:dLbl>
              <c:idx val="3"/>
              <c:tx>
                <c:rich>
                  <a:bodyPr/>
                  <a:lstStyle/>
                  <a:p>
                    <a:pPr>
                      <a:defRPr sz="800">
                        <a:latin typeface="Nexa Book"/>
                      </a:defRPr>
                    </a:pPr>
                    <a:r>
                      <a:t>8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1150383.0</c:v>
                </c:pt>
                <c:pt idx="1">
                  <c:v>38821570.0</c:v>
                </c:pt>
                <c:pt idx="2">
                  <c:v>13727522.0</c:v>
                </c:pt>
                <c:pt idx="3">
                  <c:v>860129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4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424421258742383</c:v>
                </c:pt>
                <c:pt idx="2">
                  <c:v>0.04307675884326362</c:v>
                </c:pt>
                <c:pt idx="3">
                  <c:v>-0.008832546255839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1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50520996732595025</c:v>
                </c:pt>
                <c:pt idx="2">
                  <c:v>0.04286819954055762</c:v>
                </c:pt>
                <c:pt idx="3">
                  <c:v>0.00765279719203740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3.0 %</a:t>
                    </a:r>
                  </a:p>
                </c:rich>
              </c:tx>
              <c:dLblPos val="ctr"/>
              <c:showLegendKey val="0"/>
              <c:showVal val="1"/>
              <c:showCatName val="0"/>
              <c:showSerName val="0"/>
              <c:showPercent val="0"/>
              <c:showBubbleSize val="0"/>
            </c:dLbl>
            <c:dLbl>
              <c:idx val="2"/>
              <c:tx>
                <c:rich>
                  <a:bodyPr/>
                  <a:lstStyle/>
                  <a:p>
                    <a:pPr>
                      <a:defRPr sz="800">
                        <a:latin typeface="Nexa Book"/>
                      </a:defRPr>
                    </a:pPr>
                    <a:r>
                      <a:t>29.8 %</a:t>
                    </a:r>
                  </a:p>
                </c:rich>
              </c:tx>
              <c:dLblPos val="ctr"/>
              <c:showLegendKey val="0"/>
              <c:showVal val="1"/>
              <c:showCatName val="0"/>
              <c:showSerName val="0"/>
              <c:showPercent val="0"/>
              <c:showBubbleSize val="0"/>
            </c:dLbl>
            <c:dLbl>
              <c:idx val="3"/>
              <c:tx>
                <c:rich>
                  <a:bodyPr/>
                  <a:lstStyle/>
                  <a:p>
                    <a:pPr>
                      <a:defRPr sz="800">
                        <a:latin typeface="Nexa Book"/>
                      </a:defRPr>
                    </a:pPr>
                    <a:r>
                      <a:t>17.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304591472564242</c:v>
                </c:pt>
                <c:pt idx="2">
                  <c:v>0.2980972191462847</c:v>
                </c:pt>
                <c:pt idx="3">
                  <c:v>0.171443633597291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7 %</a:t>
                    </a:r>
                  </a:p>
                </c:rich>
              </c:tx>
              <c:dLblPos val="ctr"/>
              <c:showLegendKey val="0"/>
              <c:showVal val="1"/>
              <c:showCatName val="0"/>
              <c:showSerName val="0"/>
              <c:showPercent val="0"/>
              <c:showBubbleSize val="0"/>
            </c:dLbl>
            <c:dLbl>
              <c:idx val="2"/>
              <c:tx>
                <c:rich>
                  <a:bodyPr/>
                  <a:lstStyle/>
                  <a:p>
                    <a:pPr>
                      <a:defRPr sz="800">
                        <a:latin typeface="Nexa Book"/>
                      </a:defRPr>
                    </a:pPr>
                    <a:r>
                      <a:t>23.4 %</a:t>
                    </a:r>
                  </a:p>
                </c:rich>
              </c:tx>
              <c:dLblPos val="ctr"/>
              <c:showLegendKey val="0"/>
              <c:showVal val="1"/>
              <c:showCatName val="0"/>
              <c:showSerName val="0"/>
              <c:showPercent val="0"/>
              <c:showBubbleSize val="0"/>
            </c:dLbl>
            <c:dLbl>
              <c:idx val="3"/>
              <c:tx>
                <c:rich>
                  <a:bodyPr/>
                  <a:lstStyle/>
                  <a:p>
                    <a:pPr>
                      <a:defRPr sz="800">
                        <a:latin typeface="Nexa Book"/>
                      </a:defRPr>
                    </a:pPr>
                    <a:r>
                      <a:t>15.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070189052706343</c:v>
                </c:pt>
                <c:pt idx="2">
                  <c:v>0.23436898617242247</c:v>
                </c:pt>
                <c:pt idx="3">
                  <c:v>0.158612108556943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33</a:t>
                    </a:r>
                  </a:p>
                </c:rich>
              </c:tx>
              <c:dLblPos val="ctr"/>
              <c:showLegendKey val="0"/>
              <c:showVal val="1"/>
              <c:showCatName val="0"/>
              <c:showSerName val="0"/>
              <c:showPercent val="0"/>
              <c:showBubbleSize val="0"/>
            </c:dLbl>
            <c:dLbl>
              <c:idx val="1"/>
              <c:tx>
                <c:rich>
                  <a:bodyPr/>
                  <a:lstStyle/>
                  <a:p>
                    <a:pPr>
                      <a:defRPr sz="800">
                        <a:latin typeface="Nexa Book"/>
                      </a:defRPr>
                    </a:pPr>
                    <a:r>
                      <a:t>813</a:t>
                    </a:r>
                  </a:p>
                </c:rich>
              </c:tx>
              <c:dLblPos val="ctr"/>
              <c:showLegendKey val="0"/>
              <c:showVal val="1"/>
              <c:showCatName val="0"/>
              <c:showSerName val="0"/>
              <c:showPercent val="0"/>
              <c:showBubbleSize val="0"/>
            </c:dLbl>
            <c:dLbl>
              <c:idx val="2"/>
              <c:tx>
                <c:rich>
                  <a:bodyPr/>
                  <a:lstStyle/>
                  <a:p>
                    <a:pPr>
                      <a:defRPr sz="800">
                        <a:latin typeface="Nexa Book"/>
                      </a:defRPr>
                    </a:pPr>
                    <a:r>
                      <a:t>457</a:t>
                    </a:r>
                  </a:p>
                </c:rich>
              </c:tx>
              <c:dLblPos val="ctr"/>
              <c:showLegendKey val="0"/>
              <c:showVal val="1"/>
              <c:showCatName val="0"/>
              <c:showSerName val="0"/>
              <c:showPercent val="0"/>
              <c:showBubbleSize val="0"/>
            </c:dLbl>
            <c:dLbl>
              <c:idx val="3"/>
              <c:tx>
                <c:rich>
                  <a:bodyPr/>
                  <a:lstStyle/>
                  <a:p>
                    <a:pPr>
                      <a:defRPr sz="800">
                        <a:latin typeface="Nexa Book"/>
                      </a:defRPr>
                    </a:pPr>
                    <a:r>
                      <a:t>26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53286596.0</c:v>
                </c:pt>
                <c:pt idx="1">
                  <c:v>81312277.0</c:v>
                </c:pt>
                <c:pt idx="2">
                  <c:v>45694308.0</c:v>
                </c:pt>
                <c:pt idx="3">
                  <c:v>2628001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76</a:t>
                    </a:r>
                  </a:p>
                </c:rich>
              </c:tx>
              <c:dLblPos val="ctr"/>
              <c:showLegendKey val="0"/>
              <c:showVal val="1"/>
              <c:showCatName val="0"/>
              <c:showSerName val="0"/>
              <c:showPercent val="0"/>
              <c:showBubbleSize val="0"/>
            </c:dLbl>
            <c:dLbl>
              <c:idx val="1"/>
              <c:tx>
                <c:rich>
                  <a:bodyPr/>
                  <a:lstStyle/>
                  <a:p>
                    <a:pPr>
                      <a:defRPr sz="800">
                        <a:latin typeface="Nexa Book"/>
                      </a:defRPr>
                    </a:pPr>
                    <a:r>
                      <a:t>107</a:t>
                    </a:r>
                  </a:p>
                </c:rich>
              </c:tx>
              <c:dLblPos val="ctr"/>
              <c:showLegendKey val="0"/>
              <c:showVal val="1"/>
              <c:showCatName val="0"/>
              <c:showSerName val="0"/>
              <c:showPercent val="0"/>
              <c:showBubbleSize val="0"/>
            </c:dLbl>
            <c:dLbl>
              <c:idx val="2"/>
              <c:tx>
                <c:rich>
                  <a:bodyPr/>
                  <a:lstStyle/>
                  <a:p>
                    <a:pPr>
                      <a:defRPr sz="800">
                        <a:latin typeface="Nexa Book"/>
                      </a:defRPr>
                    </a:pPr>
                    <a:r>
                      <a:t>41</a:t>
                    </a:r>
                  </a:p>
                </c:rich>
              </c:tx>
              <c:dLblPos val="ctr"/>
              <c:showLegendKey val="0"/>
              <c:showVal val="1"/>
              <c:showCatName val="0"/>
              <c:showSerName val="0"/>
              <c:showPercent val="0"/>
              <c:showBubbleSize val="0"/>
            </c:dLbl>
            <c:dLbl>
              <c:idx val="3"/>
              <c:tx>
                <c:rich>
                  <a:bodyPr/>
                  <a:lstStyle/>
                  <a:p>
                    <a:pPr>
                      <a:defRPr sz="800">
                        <a:latin typeface="Nexa Book"/>
                      </a:defRPr>
                    </a:pPr>
                    <a:r>
                      <a:t>28</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644233.0</c:v>
                </c:pt>
                <c:pt idx="1">
                  <c:v>10710383.0</c:v>
                </c:pt>
                <c:pt idx="2">
                  <c:v>4135261.0</c:v>
                </c:pt>
                <c:pt idx="3">
                  <c:v>279858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 %</a:t>
                    </a:r>
                  </a:p>
                </c:rich>
              </c:tx>
              <c:dLblPos val="ctr"/>
              <c:showLegendKey val="0"/>
              <c:showVal val="1"/>
              <c:showCatName val="0"/>
              <c:showSerName val="0"/>
              <c:showPercent val="0"/>
              <c:showBubbleSize val="0"/>
            </c:dLbl>
            <c:dLbl>
              <c:idx val="2"/>
              <c:tx>
                <c:rich>
                  <a:bodyPr/>
                  <a:lstStyle/>
                  <a:p>
                    <a:pPr>
                      <a:defRPr sz="800">
                        <a:latin typeface="Nexa Book"/>
                      </a:defRPr>
                    </a:pPr>
                    <a:r>
                      <a:t>1.0 %</a:t>
                    </a:r>
                  </a:p>
                </c:rich>
              </c:tx>
              <c:dLblPos val="ctr"/>
              <c:showLegendKey val="0"/>
              <c:showVal val="1"/>
              <c:showCatName val="0"/>
              <c:showSerName val="0"/>
              <c:showPercent val="0"/>
              <c:showBubbleSize val="0"/>
            </c:dLbl>
            <c:dLbl>
              <c:idx val="3"/>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600604518500337</c:v>
                </c:pt>
                <c:pt idx="2">
                  <c:v>0.009563231313932052</c:v>
                </c:pt>
                <c:pt idx="3">
                  <c:v>-0.02556927649893536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4 %</a:t>
                    </a:r>
                  </a:p>
                </c:rich>
              </c:tx>
              <c:dLblPos val="ctr"/>
              <c:showLegendKey val="0"/>
              <c:showVal val="1"/>
              <c:showCatName val="0"/>
              <c:showSerName val="0"/>
              <c:showPercent val="0"/>
              <c:showBubbleSize val="0"/>
            </c:dLbl>
            <c:dLbl>
              <c:idx val="2"/>
              <c:tx>
                <c:rich>
                  <a:bodyPr/>
                  <a:lstStyle/>
                  <a:p>
                    <a:pPr>
                      <a:defRPr sz="800">
                        <a:latin typeface="Nexa Book"/>
                      </a:defRPr>
                    </a:pPr>
                    <a:r>
                      <a:t>6.5 %</a:t>
                    </a:r>
                  </a:p>
                </c:rich>
              </c:tx>
              <c:dLblPos val="ctr"/>
              <c:showLegendKey val="0"/>
              <c:showVal val="1"/>
              <c:showCatName val="0"/>
              <c:showSerName val="0"/>
              <c:showPercent val="0"/>
              <c:showBubbleSize val="0"/>
            </c:dLbl>
            <c:dLbl>
              <c:idx val="3"/>
              <c:tx>
                <c:rich>
                  <a:bodyPr/>
                  <a:lstStyle/>
                  <a:p>
                    <a:pPr>
                      <a:defRPr sz="800">
                        <a:latin typeface="Nexa Book"/>
                      </a:defRPr>
                    </a:pPr>
                    <a:r>
                      <a:t>-1.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5382671663850924</c:v>
                </c:pt>
                <c:pt idx="2">
                  <c:v>0.06461994633967696</c:v>
                </c:pt>
                <c:pt idx="3">
                  <c:v>-0.0107932297011677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8 %</a:t>
                    </a:r>
                  </a:p>
                </c:rich>
              </c:tx>
              <c:dLblPos val="ctr"/>
              <c:showLegendKey val="0"/>
              <c:showVal val="1"/>
              <c:showCatName val="0"/>
              <c:showSerName val="0"/>
              <c:showPercent val="0"/>
              <c:showBubbleSize val="0"/>
            </c:dLbl>
            <c:dLbl>
              <c:idx val="2"/>
              <c:tx>
                <c:rich>
                  <a:bodyPr/>
                  <a:lstStyle/>
                  <a:p>
                    <a:pPr>
                      <a:defRPr sz="800">
                        <a:latin typeface="Nexa Book"/>
                      </a:defRPr>
                    </a:pPr>
                    <a:r>
                      <a:t>29.6 %</a:t>
                    </a:r>
                  </a:p>
                </c:rich>
              </c:tx>
              <c:dLblPos val="ctr"/>
              <c:showLegendKey val="0"/>
              <c:showVal val="1"/>
              <c:showCatName val="0"/>
              <c:showSerName val="0"/>
              <c:showPercent val="0"/>
              <c:showBubbleSize val="0"/>
            </c:dLbl>
            <c:dLbl>
              <c:idx val="3"/>
              <c:tx>
                <c:rich>
                  <a:bodyPr/>
                  <a:lstStyle/>
                  <a:p>
                    <a:pPr>
                      <a:defRPr sz="800">
                        <a:latin typeface="Nexa Book"/>
                      </a:defRPr>
                    </a:pPr>
                    <a:r>
                      <a:t>14.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582824164298615</c:v>
                </c:pt>
                <c:pt idx="2">
                  <c:v>0.29595287514160196</c:v>
                </c:pt>
                <c:pt idx="3">
                  <c:v>0.145764708428536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1 %</a:t>
                    </a:r>
                  </a:p>
                </c:rich>
              </c:tx>
              <c:dLblPos val="ctr"/>
              <c:showLegendKey val="0"/>
              <c:showVal val="1"/>
              <c:showCatName val="0"/>
              <c:showSerName val="0"/>
              <c:showPercent val="0"/>
              <c:showBubbleSize val="0"/>
            </c:dLbl>
            <c:dLbl>
              <c:idx val="2"/>
              <c:tx>
                <c:rich>
                  <a:bodyPr/>
                  <a:lstStyle/>
                  <a:p>
                    <a:pPr>
                      <a:defRPr sz="800">
                        <a:latin typeface="Nexa Book"/>
                      </a:defRPr>
                    </a:pPr>
                    <a:r>
                      <a:t>26.7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211938140080214</c:v>
                </c:pt>
                <c:pt idx="2">
                  <c:v>0.2669083386550164</c:v>
                </c:pt>
                <c:pt idx="3">
                  <c:v>0.111897847336962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736</a:t>
                    </a:r>
                  </a:p>
                </c:rich>
              </c:tx>
              <c:dLblPos val="ctr"/>
              <c:showLegendKey val="0"/>
              <c:showVal val="1"/>
              <c:showCatName val="0"/>
              <c:showSerName val="0"/>
              <c:showPercent val="0"/>
              <c:showBubbleSize val="0"/>
            </c:dLbl>
            <c:dLbl>
              <c:idx val="1"/>
              <c:tx>
                <c:rich>
                  <a:bodyPr/>
                  <a:lstStyle/>
                  <a:p>
                    <a:pPr>
                      <a:defRPr sz="800">
                        <a:latin typeface="Nexa Book"/>
                      </a:defRPr>
                    </a:pPr>
                    <a:r>
                      <a:t>969</a:t>
                    </a:r>
                  </a:p>
                </c:rich>
              </c:tx>
              <c:dLblPos val="ctr"/>
              <c:showLegendKey val="0"/>
              <c:showVal val="1"/>
              <c:showCatName val="0"/>
              <c:showSerName val="0"/>
              <c:showPercent val="0"/>
              <c:showBubbleSize val="0"/>
            </c:dLbl>
            <c:dLbl>
              <c:idx val="2"/>
              <c:tx>
                <c:rich>
                  <a:bodyPr/>
                  <a:lstStyle/>
                  <a:p>
                    <a:pPr>
                      <a:defRPr sz="800">
                        <a:latin typeface="Nexa Book"/>
                      </a:defRPr>
                    </a:pPr>
                    <a:r>
                      <a:t>514</a:t>
                    </a:r>
                  </a:p>
                </c:rich>
              </c:tx>
              <c:dLblPos val="ctr"/>
              <c:showLegendKey val="0"/>
              <c:showVal val="1"/>
              <c:showCatName val="0"/>
              <c:showSerName val="0"/>
              <c:showPercent val="0"/>
              <c:showBubbleSize val="0"/>
            </c:dLbl>
            <c:dLbl>
              <c:idx val="3"/>
              <c:tx>
                <c:rich>
                  <a:bodyPr/>
                  <a:lstStyle/>
                  <a:p>
                    <a:pPr>
                      <a:defRPr sz="800">
                        <a:latin typeface="Nexa Book"/>
                      </a:defRPr>
                    </a:pPr>
                    <a:r>
                      <a:t>25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3593137.0</c:v>
                </c:pt>
                <c:pt idx="1">
                  <c:v>96913996.0</c:v>
                </c:pt>
                <c:pt idx="2">
                  <c:v>51375388.0</c:v>
                </c:pt>
                <c:pt idx="3">
                  <c:v>253037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18</a:t>
                    </a:r>
                  </a:p>
                </c:rich>
              </c:tx>
              <c:dLblPos val="ctr"/>
              <c:showLegendKey val="0"/>
              <c:showVal val="1"/>
              <c:showCatName val="0"/>
              <c:showSerName val="0"/>
              <c:showPercent val="0"/>
              <c:showBubbleSize val="0"/>
            </c:dLbl>
            <c:dLbl>
              <c:idx val="1"/>
              <c:tx>
                <c:rich>
                  <a:bodyPr/>
                  <a:lstStyle/>
                  <a:p>
                    <a:pPr>
                      <a:defRPr sz="800">
                        <a:latin typeface="Nexa Book"/>
                      </a:defRPr>
                    </a:pPr>
                    <a:r>
                      <a:t>74</a:t>
                    </a:r>
                  </a:p>
                </c:rich>
              </c:tx>
              <c:dLblPos val="ctr"/>
              <c:showLegendKey val="0"/>
              <c:showVal val="1"/>
              <c:showCatName val="0"/>
              <c:showSerName val="0"/>
              <c:showPercent val="0"/>
              <c:showBubbleSize val="0"/>
            </c:dLbl>
            <c:dLbl>
              <c:idx val="2"/>
              <c:tx>
                <c:rich>
                  <a:bodyPr/>
                  <a:lstStyle/>
                  <a:p>
                    <a:pPr>
                      <a:defRPr sz="800">
                        <a:latin typeface="Nexa Book"/>
                      </a:defRPr>
                    </a:pPr>
                    <a:r>
                      <a:t>32</a:t>
                    </a:r>
                  </a:p>
                </c:rich>
              </c:tx>
              <c:dLblPos val="ctr"/>
              <c:showLegendKey val="0"/>
              <c:showVal val="1"/>
              <c:showCatName val="0"/>
              <c:showSerName val="0"/>
              <c:showPercent val="0"/>
              <c:showBubbleSize val="0"/>
            </c:dLbl>
            <c:dLbl>
              <c:idx val="3"/>
              <c:tx>
                <c:rich>
                  <a:bodyPr/>
                  <a:lstStyle/>
                  <a:p>
                    <a:pPr>
                      <a:defRPr sz="800">
                        <a:latin typeface="Nexa Book"/>
                      </a:defRPr>
                    </a:pPr>
                    <a:r>
                      <a:t>1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1838360.0</c:v>
                </c:pt>
                <c:pt idx="1">
                  <c:v>7353916.0</c:v>
                </c:pt>
                <c:pt idx="2">
                  <c:v>3159757.0</c:v>
                </c:pt>
                <c:pt idx="3">
                  <c:v>132468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4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424421258742383</c:v>
                </c:pt>
                <c:pt idx="2">
                  <c:v>0.04307675884326362</c:v>
                </c:pt>
                <c:pt idx="3">
                  <c:v>-0.008832546255839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3 %</a:t>
                    </a:r>
                  </a:p>
                </c:rich>
              </c:tx>
              <c:dLblPos val="ctr"/>
              <c:showLegendKey val="0"/>
              <c:showVal val="1"/>
              <c:showCatName val="0"/>
              <c:showSerName val="0"/>
              <c:showPercent val="0"/>
              <c:showBubbleSize val="0"/>
            </c:dLbl>
            <c:dLbl>
              <c:idx val="2"/>
              <c:tx>
                <c:rich>
                  <a:bodyPr/>
                  <a:lstStyle/>
                  <a:p>
                    <a:pPr>
                      <a:defRPr sz="800">
                        <a:latin typeface="Nexa Book"/>
                      </a:defRPr>
                    </a:pPr>
                    <a:r>
                      <a:t>2.4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260976700984086</c:v>
                </c:pt>
                <c:pt idx="2">
                  <c:v>0.023693304819773636</c:v>
                </c:pt>
                <c:pt idx="3">
                  <c:v>0.008916462190067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61512142740411</c:v>
                </c:pt>
                <c:pt idx="1">
                  <c:v>0.26720035671555414</c:v>
                </c:pt>
                <c:pt idx="2">
                  <c:v>0.06919130226325493</c:v>
                </c:pt>
                <c:pt idx="3">
                  <c:v>0.00209619828077989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0579269846433443</c:v>
                </c:pt>
                <c:pt idx="1">
                  <c:v>-0.003642560847355536</c:v>
                </c:pt>
                <c:pt idx="2">
                  <c:v>0.033216940682979534</c:v>
                </c:pt>
                <c:pt idx="3">
                  <c:v>0.001004890010809443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8 %</a:t>
                    </a:r>
                  </a:p>
                </c:rich>
              </c:tx>
              <c:dLblPos val="ctr"/>
              <c:showLegendKey val="0"/>
              <c:showVal val="1"/>
              <c:showCatName val="0"/>
              <c:showSerName val="0"/>
              <c:showPercent val="0"/>
              <c:showBubbleSize val="0"/>
            </c:dLbl>
            <c:dLbl>
              <c:idx val="2"/>
              <c:tx>
                <c:rich>
                  <a:bodyPr/>
                  <a:lstStyle/>
                  <a:p>
                    <a:pPr>
                      <a:defRPr sz="800">
                        <a:latin typeface="Nexa Book"/>
                      </a:defRPr>
                    </a:pPr>
                    <a:r>
                      <a:t>29.6 %</a:t>
                    </a:r>
                  </a:p>
                </c:rich>
              </c:tx>
              <c:dLblPos val="ctr"/>
              <c:showLegendKey val="0"/>
              <c:showVal val="1"/>
              <c:showCatName val="0"/>
              <c:showSerName val="0"/>
              <c:showPercent val="0"/>
              <c:showBubbleSize val="0"/>
            </c:dLbl>
            <c:dLbl>
              <c:idx val="3"/>
              <c:tx>
                <c:rich>
                  <a:bodyPr/>
                  <a:lstStyle/>
                  <a:p>
                    <a:pPr>
                      <a:defRPr sz="800">
                        <a:latin typeface="Nexa Book"/>
                      </a:defRPr>
                    </a:pPr>
                    <a:r>
                      <a:t>14.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582824164298615</c:v>
                </c:pt>
                <c:pt idx="2">
                  <c:v>0.29595287514160196</c:v>
                </c:pt>
                <c:pt idx="3">
                  <c:v>0.145764708428536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6 %</a:t>
                    </a:r>
                  </a:p>
                </c:rich>
              </c:tx>
              <c:dLblPos val="ctr"/>
              <c:showLegendKey val="0"/>
              <c:showVal val="1"/>
              <c:showCatName val="0"/>
              <c:showSerName val="0"/>
              <c:showPercent val="0"/>
              <c:showBubbleSize val="0"/>
            </c:dLbl>
            <c:dLbl>
              <c:idx val="2"/>
              <c:tx>
                <c:rich>
                  <a:bodyPr/>
                  <a:lstStyle/>
                  <a:p>
                    <a:pPr>
                      <a:defRPr sz="800">
                        <a:latin typeface="Nexa Book"/>
                      </a:defRPr>
                    </a:pPr>
                    <a:r>
                      <a:t>21.4 %</a:t>
                    </a:r>
                  </a:p>
                </c:rich>
              </c:tx>
              <c:dLblPos val="ctr"/>
              <c:showLegendKey val="0"/>
              <c:showVal val="1"/>
              <c:showCatName val="0"/>
              <c:showSerName val="0"/>
              <c:showPercent val="0"/>
              <c:showBubbleSize val="0"/>
            </c:dLbl>
            <c:dLbl>
              <c:idx val="3"/>
              <c:tx>
                <c:rich>
                  <a:bodyPr/>
                  <a:lstStyle/>
                  <a:p>
                    <a:pPr>
                      <a:defRPr sz="800">
                        <a:latin typeface="Nexa Book"/>
                      </a:defRPr>
                    </a:pPr>
                    <a:r>
                      <a:t>18.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057260745448637</c:v>
                </c:pt>
                <c:pt idx="2">
                  <c:v>0.21419341144220908</c:v>
                </c:pt>
                <c:pt idx="3">
                  <c:v>0.1800805140129271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6213606795534079</c:v>
                </c:pt>
                <c:pt idx="1">
                  <c:v>0.10527815381170455</c:v>
                </c:pt>
                <c:pt idx="2">
                  <c:v>0.0727291830866562</c:v>
                </c:pt>
                <c:pt idx="3">
                  <c:v>0.06919130226325493</c:v>
                </c:pt>
                <c:pt idx="4">
                  <c:v>0.06150332139584036</c:v>
                </c:pt>
                <c:pt idx="5">
                  <c:v>0.04013495722893616</c:v>
                </c:pt>
                <c:pt idx="6">
                  <c:v>0.022192357943846577</c:v>
                </c:pt>
                <c:pt idx="7">
                  <c:v>0.0011752514647675265</c:v>
                </c:pt>
                <c:pt idx="8">
                  <c:v>0.006434793251585759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736</a:t>
                    </a:r>
                  </a:p>
                </c:rich>
              </c:tx>
              <c:dLblPos val="ctr"/>
              <c:showLegendKey val="0"/>
              <c:showVal val="1"/>
              <c:showCatName val="0"/>
              <c:showSerName val="0"/>
              <c:showPercent val="0"/>
              <c:showBubbleSize val="0"/>
            </c:dLbl>
            <c:dLbl>
              <c:idx val="1"/>
              <c:tx>
                <c:rich>
                  <a:bodyPr/>
                  <a:lstStyle/>
                  <a:p>
                    <a:pPr>
                      <a:defRPr sz="800">
                        <a:latin typeface="Nexa Book"/>
                      </a:defRPr>
                    </a:pPr>
                    <a:r>
                      <a:t>969</a:t>
                    </a:r>
                  </a:p>
                </c:rich>
              </c:tx>
              <c:dLblPos val="ctr"/>
              <c:showLegendKey val="0"/>
              <c:showVal val="1"/>
              <c:showCatName val="0"/>
              <c:showSerName val="0"/>
              <c:showPercent val="0"/>
              <c:showBubbleSize val="0"/>
            </c:dLbl>
            <c:dLbl>
              <c:idx val="2"/>
              <c:tx>
                <c:rich>
                  <a:bodyPr/>
                  <a:lstStyle/>
                  <a:p>
                    <a:pPr>
                      <a:defRPr sz="800">
                        <a:latin typeface="Nexa Book"/>
                      </a:defRPr>
                    </a:pPr>
                    <a:r>
                      <a:t>514</a:t>
                    </a:r>
                  </a:p>
                </c:rich>
              </c:tx>
              <c:dLblPos val="ctr"/>
              <c:showLegendKey val="0"/>
              <c:showVal val="1"/>
              <c:showCatName val="0"/>
              <c:showSerName val="0"/>
              <c:showPercent val="0"/>
              <c:showBubbleSize val="0"/>
            </c:dLbl>
            <c:dLbl>
              <c:idx val="3"/>
              <c:tx>
                <c:rich>
                  <a:bodyPr/>
                  <a:lstStyle/>
                  <a:p>
                    <a:pPr>
                      <a:defRPr sz="800">
                        <a:latin typeface="Nexa Book"/>
                      </a:defRPr>
                    </a:pPr>
                    <a:r>
                      <a:t>25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3593137.0</c:v>
                </c:pt>
                <c:pt idx="1">
                  <c:v>96913996.0</c:v>
                </c:pt>
                <c:pt idx="2">
                  <c:v>51375388.0</c:v>
                </c:pt>
                <c:pt idx="3">
                  <c:v>253037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53</a:t>
                    </a:r>
                  </a:p>
                </c:rich>
              </c:tx>
              <c:dLblPos val="ctr"/>
              <c:showLegendKey val="0"/>
              <c:showVal val="1"/>
              <c:showCatName val="0"/>
              <c:showSerName val="0"/>
              <c:showPercent val="0"/>
              <c:showBubbleSize val="0"/>
            </c:dLbl>
            <c:dLbl>
              <c:idx val="1"/>
              <c:tx>
                <c:rich>
                  <a:bodyPr/>
                  <a:lstStyle/>
                  <a:p>
                    <a:pPr>
                      <a:defRPr sz="800">
                        <a:latin typeface="Nexa Book"/>
                      </a:defRPr>
                    </a:pPr>
                    <a:r>
                      <a:t>153</a:t>
                    </a:r>
                  </a:p>
                </c:rich>
              </c:tx>
              <c:dLblPos val="ctr"/>
              <c:showLegendKey val="0"/>
              <c:showVal val="1"/>
              <c:showCatName val="0"/>
              <c:showSerName val="0"/>
              <c:showPercent val="0"/>
              <c:showBubbleSize val="0"/>
            </c:dLbl>
            <c:dLbl>
              <c:idx val="2"/>
              <c:tx>
                <c:rich>
                  <a:bodyPr/>
                  <a:lstStyle/>
                  <a:p>
                    <a:pPr>
                      <a:defRPr sz="800">
                        <a:latin typeface="Nexa Book"/>
                      </a:defRPr>
                    </a:pPr>
                    <a:r>
                      <a:t>54</a:t>
                    </a:r>
                  </a:p>
                </c:rich>
              </c:tx>
              <c:dLblPos val="ctr"/>
              <c:showLegendKey val="0"/>
              <c:showVal val="1"/>
              <c:showCatName val="0"/>
              <c:showSerName val="0"/>
              <c:showPercent val="0"/>
              <c:showBubbleSize val="0"/>
            </c:dLbl>
            <c:dLbl>
              <c:idx val="3"/>
              <c:tx>
                <c:rich>
                  <a:bodyPr/>
                  <a:lstStyle/>
                  <a:p>
                    <a:pPr>
                      <a:defRPr sz="800">
                        <a:latin typeface="Nexa Book"/>
                      </a:defRPr>
                    </a:pPr>
                    <a:r>
                      <a:t>4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25251505.0</c:v>
                </c:pt>
                <c:pt idx="1">
                  <c:v>15295495.0</c:v>
                </c:pt>
                <c:pt idx="2">
                  <c:v>5408706.0</c:v>
                </c:pt>
                <c:pt idx="3">
                  <c:v>4547304.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4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424421258742383</c:v>
                </c:pt>
                <c:pt idx="2">
                  <c:v>0.04307675884326362</c:v>
                </c:pt>
                <c:pt idx="3">
                  <c:v>-0.008832546255839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9 %</a:t>
                    </a:r>
                  </a:p>
                </c:rich>
              </c:tx>
              <c:dLblPos val="ctr"/>
              <c:showLegendKey val="0"/>
              <c:showVal val="1"/>
              <c:showCatName val="0"/>
              <c:showSerName val="0"/>
              <c:showPercent val="0"/>
              <c:showBubbleSize val="0"/>
            </c:dLbl>
            <c:dLbl>
              <c:idx val="2"/>
              <c:tx>
                <c:rich>
                  <a:bodyPr/>
                  <a:lstStyle/>
                  <a:p>
                    <a:pPr>
                      <a:defRPr sz="800">
                        <a:latin typeface="Nexa Book"/>
                      </a:defRPr>
                    </a:pPr>
                    <a:r>
                      <a:t>2.7 %</a:t>
                    </a:r>
                  </a:p>
                </c:rich>
              </c:tx>
              <c:dLblPos val="ctr"/>
              <c:showLegendKey val="0"/>
              <c:showVal val="1"/>
              <c:showCatName val="0"/>
              <c:showSerName val="0"/>
              <c:showPercent val="0"/>
              <c:showBubbleSize val="0"/>
            </c:dLbl>
            <c:dLbl>
              <c:idx val="3"/>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2857738302275792</c:v>
                </c:pt>
                <c:pt idx="2">
                  <c:v>0.027116245949609152</c:v>
                </c:pt>
                <c:pt idx="3">
                  <c:v>0.00146113707314871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4100350730054725</c:v>
                </c:pt>
                <c:pt idx="1">
                  <c:v>0.0112696199838212</c:v>
                </c:pt>
                <c:pt idx="2">
                  <c:v>0.029125433390400614</c:v>
                </c:pt>
                <c:pt idx="3">
                  <c:v>0.000608453926325478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3.0 %</a:t>
                    </a:r>
                  </a:p>
                </c:rich>
              </c:tx>
              <c:dLblPos val="ctr"/>
              <c:showLegendKey val="0"/>
              <c:showVal val="1"/>
              <c:showCatName val="0"/>
              <c:showSerName val="0"/>
              <c:showPercent val="0"/>
              <c:showBubbleSize val="0"/>
            </c:dLbl>
            <c:dLbl>
              <c:idx val="2"/>
              <c:tx>
                <c:rich>
                  <a:bodyPr/>
                  <a:lstStyle/>
                  <a:p>
                    <a:pPr>
                      <a:defRPr sz="800">
                        <a:latin typeface="Nexa Book"/>
                      </a:defRPr>
                    </a:pPr>
                    <a:r>
                      <a:t>29.8 %</a:t>
                    </a:r>
                  </a:p>
                </c:rich>
              </c:tx>
              <c:dLblPos val="ctr"/>
              <c:showLegendKey val="0"/>
              <c:showVal val="1"/>
              <c:showCatName val="0"/>
              <c:showSerName val="0"/>
              <c:showPercent val="0"/>
              <c:showBubbleSize val="0"/>
            </c:dLbl>
            <c:dLbl>
              <c:idx val="3"/>
              <c:tx>
                <c:rich>
                  <a:bodyPr/>
                  <a:lstStyle/>
                  <a:p>
                    <a:pPr>
                      <a:defRPr sz="800">
                        <a:latin typeface="Nexa Book"/>
                      </a:defRPr>
                    </a:pPr>
                    <a:r>
                      <a:t>17.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304591472564242</c:v>
                </c:pt>
                <c:pt idx="2">
                  <c:v>0.2980972191462847</c:v>
                </c:pt>
                <c:pt idx="3">
                  <c:v>0.171443633597291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0 %</a:t>
                    </a:r>
                  </a:p>
                </c:rich>
              </c:tx>
              <c:dLblPos val="ctr"/>
              <c:showLegendKey val="0"/>
              <c:showVal val="1"/>
              <c:showCatName val="0"/>
              <c:showSerName val="0"/>
              <c:showPercent val="0"/>
              <c:showBubbleSize val="0"/>
            </c:dLbl>
            <c:dLbl>
              <c:idx val="2"/>
              <c:tx>
                <c:rich>
                  <a:bodyPr/>
                  <a:lstStyle/>
                  <a:p>
                    <a:pPr>
                      <a:defRPr sz="800">
                        <a:latin typeface="Nexa Book"/>
                      </a:defRPr>
                    </a:pPr>
                    <a:r>
                      <a:t>4.1 %</a:t>
                    </a:r>
                  </a:p>
                </c:rich>
              </c:tx>
              <c:dLblPos val="ctr"/>
              <c:showLegendKey val="0"/>
              <c:showVal val="1"/>
              <c:showCatName val="0"/>
              <c:showSerName val="0"/>
              <c:showPercent val="0"/>
              <c:showBubbleSize val="0"/>
            </c:dLbl>
            <c:dLbl>
              <c:idx val="3"/>
              <c:tx>
                <c:rich>
                  <a:bodyPr/>
                  <a:lstStyle/>
                  <a:p>
                    <a:pPr>
                      <a:defRPr sz="800">
                        <a:latin typeface="Nexa Book"/>
                      </a:defRPr>
                    </a:pPr>
                    <a:r>
                      <a:t>88.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7003004247384233</c:v>
                </c:pt>
                <c:pt idx="2">
                  <c:v>0.04082668600435098</c:v>
                </c:pt>
                <c:pt idx="3">
                  <c:v>0.88914327152180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33</a:t>
                    </a:r>
                  </a:p>
                </c:rich>
              </c:tx>
              <c:dLblPos val="ctr"/>
              <c:showLegendKey val="0"/>
              <c:showVal val="1"/>
              <c:showCatName val="0"/>
              <c:showSerName val="0"/>
              <c:showPercent val="0"/>
              <c:showBubbleSize val="0"/>
            </c:dLbl>
            <c:dLbl>
              <c:idx val="1"/>
              <c:tx>
                <c:rich>
                  <a:bodyPr/>
                  <a:lstStyle/>
                  <a:p>
                    <a:pPr>
                      <a:defRPr sz="800">
                        <a:latin typeface="Nexa Book"/>
                      </a:defRPr>
                    </a:pPr>
                    <a:r>
                      <a:t>813</a:t>
                    </a:r>
                  </a:p>
                </c:rich>
              </c:tx>
              <c:dLblPos val="ctr"/>
              <c:showLegendKey val="0"/>
              <c:showVal val="1"/>
              <c:showCatName val="0"/>
              <c:showSerName val="0"/>
              <c:showPercent val="0"/>
              <c:showBubbleSize val="0"/>
            </c:dLbl>
            <c:dLbl>
              <c:idx val="2"/>
              <c:tx>
                <c:rich>
                  <a:bodyPr/>
                  <a:lstStyle/>
                  <a:p>
                    <a:pPr>
                      <a:defRPr sz="800">
                        <a:latin typeface="Nexa Book"/>
                      </a:defRPr>
                    </a:pPr>
                    <a:r>
                      <a:t>457</a:t>
                    </a:r>
                  </a:p>
                </c:rich>
              </c:tx>
              <c:dLblPos val="ctr"/>
              <c:showLegendKey val="0"/>
              <c:showVal val="1"/>
              <c:showCatName val="0"/>
              <c:showSerName val="0"/>
              <c:showPercent val="0"/>
              <c:showBubbleSize val="0"/>
            </c:dLbl>
            <c:dLbl>
              <c:idx val="3"/>
              <c:tx>
                <c:rich>
                  <a:bodyPr/>
                  <a:lstStyle/>
                  <a:p>
                    <a:pPr>
                      <a:defRPr sz="800">
                        <a:latin typeface="Nexa Book"/>
                      </a:defRPr>
                    </a:pPr>
                    <a:r>
                      <a:t>26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53286596.0</c:v>
                </c:pt>
                <c:pt idx="1">
                  <c:v>81312277.0</c:v>
                </c:pt>
                <c:pt idx="2">
                  <c:v>45694308.0</c:v>
                </c:pt>
                <c:pt idx="3">
                  <c:v>2628001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a:t>
                    </a:r>
                  </a:p>
                </c:rich>
              </c:tx>
              <c:dLblPos val="ctr"/>
              <c:showLegendKey val="0"/>
              <c:showVal val="1"/>
              <c:showCatName val="0"/>
              <c:showSerName val="0"/>
              <c:showPercent val="0"/>
              <c:showBubbleSize val="0"/>
            </c:dLbl>
            <c:dLbl>
              <c:idx val="1"/>
              <c:tx>
                <c:rich>
                  <a:bodyPr/>
                  <a:lstStyle/>
                  <a:p>
                    <a:pPr>
                      <a:defRPr sz="800">
                        <a:latin typeface="Nexa Book"/>
                      </a:defRPr>
                    </a:pPr>
                    <a:r>
                      <a:t>0.1</a:t>
                    </a:r>
                  </a:p>
                </c:rich>
              </c:tx>
              <c:dLblPos val="ctr"/>
              <c:showLegendKey val="0"/>
              <c:showVal val="1"/>
              <c:showCatName val="0"/>
              <c:showSerName val="0"/>
              <c:showPercent val="0"/>
              <c:showBubbleSize val="0"/>
            </c:dLbl>
            <c:dLbl>
              <c:idx val="2"/>
              <c:tx>
                <c:rich>
                  <a:bodyPr/>
                  <a:lstStyle/>
                  <a:p>
                    <a:pPr>
                      <a:defRPr sz="800">
                        <a:latin typeface="Nexa Book"/>
                      </a:defRPr>
                    </a:pPr>
                    <a:r>
                      <a:t>0.0</a:t>
                    </a:r>
                  </a:p>
                </c:rich>
              </c:tx>
              <c:dLblPos val="ctr"/>
              <c:showLegendKey val="0"/>
              <c:showVal val="1"/>
              <c:showCatName val="0"/>
              <c:showSerName val="0"/>
              <c:showPercent val="0"/>
              <c:showBubbleSize val="0"/>
            </c:dLbl>
            <c:dLbl>
              <c:idx val="3"/>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96530.0</c:v>
                </c:pt>
                <c:pt idx="1">
                  <c:v>6760.0</c:v>
                </c:pt>
                <c:pt idx="2">
                  <c:v>3941.0</c:v>
                </c:pt>
                <c:pt idx="3">
                  <c:v>8582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 %</a:t>
                    </a:r>
                  </a:p>
                </c:rich>
              </c:tx>
              <c:dLblPos val="ctr"/>
              <c:showLegendKey val="0"/>
              <c:showVal val="1"/>
              <c:showCatName val="0"/>
              <c:showSerName val="0"/>
              <c:showPercent val="0"/>
              <c:showBubbleSize val="0"/>
            </c:dLbl>
            <c:dLbl>
              <c:idx val="2"/>
              <c:tx>
                <c:rich>
                  <a:bodyPr/>
                  <a:lstStyle/>
                  <a:p>
                    <a:pPr>
                      <a:defRPr sz="800">
                        <a:latin typeface="Nexa Book"/>
                      </a:defRPr>
                    </a:pPr>
                    <a:r>
                      <a:t>1.0 %</a:t>
                    </a:r>
                  </a:p>
                </c:rich>
              </c:tx>
              <c:dLblPos val="ctr"/>
              <c:showLegendKey val="0"/>
              <c:showVal val="1"/>
              <c:showCatName val="0"/>
              <c:showSerName val="0"/>
              <c:showPercent val="0"/>
              <c:showBubbleSize val="0"/>
            </c:dLbl>
            <c:dLbl>
              <c:idx val="3"/>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600604518500337</c:v>
                </c:pt>
                <c:pt idx="2">
                  <c:v>0.009563231313932052</c:v>
                </c:pt>
                <c:pt idx="3">
                  <c:v>-0.02556927649893536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7 %</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5.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6511892153195706</c:v>
                </c:pt>
                <c:pt idx="2">
                  <c:v>0.0</c:v>
                </c:pt>
                <c:pt idx="3">
                  <c:v>-0.05733857815754661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8 %</a:t>
                    </a:r>
                  </a:p>
                </c:rich>
              </c:tx>
              <c:dLblPos val="ctr"/>
              <c:showLegendKey val="0"/>
              <c:showVal val="1"/>
              <c:showCatName val="0"/>
              <c:showSerName val="0"/>
              <c:showPercent val="0"/>
              <c:showBubbleSize val="0"/>
            </c:dLbl>
            <c:dLbl>
              <c:idx val="2"/>
              <c:tx>
                <c:rich>
                  <a:bodyPr/>
                  <a:lstStyle/>
                  <a:p>
                    <a:pPr>
                      <a:defRPr sz="800">
                        <a:latin typeface="Nexa Book"/>
                      </a:defRPr>
                    </a:pPr>
                    <a:r>
                      <a:t>29.6 %</a:t>
                    </a:r>
                  </a:p>
                </c:rich>
              </c:tx>
              <c:dLblPos val="ctr"/>
              <c:showLegendKey val="0"/>
              <c:showVal val="1"/>
              <c:showCatName val="0"/>
              <c:showSerName val="0"/>
              <c:showPercent val="0"/>
              <c:showBubbleSize val="0"/>
            </c:dLbl>
            <c:dLbl>
              <c:idx val="3"/>
              <c:tx>
                <c:rich>
                  <a:bodyPr/>
                  <a:lstStyle/>
                  <a:p>
                    <a:pPr>
                      <a:defRPr sz="800">
                        <a:latin typeface="Nexa Book"/>
                      </a:defRPr>
                    </a:pPr>
                    <a:r>
                      <a:t>14.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582824164298615</c:v>
                </c:pt>
                <c:pt idx="2">
                  <c:v>0.29595287514160196</c:v>
                </c:pt>
                <c:pt idx="3">
                  <c:v>0.145764708428536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3.7 %</a:t>
                    </a:r>
                  </a:p>
                </c:rich>
              </c:tx>
              <c:dLblPos val="ctr"/>
              <c:showLegendKey val="0"/>
              <c:showVal val="1"/>
              <c:showCatName val="0"/>
              <c:showSerName val="0"/>
              <c:showPercent val="0"/>
              <c:showBubbleSize val="0"/>
            </c:dLbl>
            <c:dLbl>
              <c:idx val="2"/>
              <c:tx>
                <c:rich>
                  <a:bodyPr/>
                  <a:lstStyle/>
                  <a:p>
                    <a:pPr>
                      <a:defRPr sz="800">
                        <a:latin typeface="Nexa Book"/>
                      </a:defRPr>
                    </a:pPr>
                    <a:r>
                      <a:t>96.0 %</a:t>
                    </a:r>
                  </a:p>
                </c:rich>
              </c:tx>
              <c:dLblPos val="ctr"/>
              <c:showLegendKey val="0"/>
              <c:showVal val="1"/>
              <c:showCatName val="0"/>
              <c:showSerName val="0"/>
              <c:showPercent val="0"/>
              <c:showBubbleSize val="0"/>
            </c:dLbl>
            <c:dLbl>
              <c:idx val="3"/>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36817914340696915</c:v>
                </c:pt>
                <c:pt idx="2">
                  <c:v>0.960271641458721</c:v>
                </c:pt>
                <c:pt idx="3">
                  <c:v>0.0029104442005820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736</a:t>
                    </a:r>
                  </a:p>
                </c:rich>
              </c:tx>
              <c:dLblPos val="ctr"/>
              <c:showLegendKey val="0"/>
              <c:showVal val="1"/>
              <c:showCatName val="0"/>
              <c:showSerName val="0"/>
              <c:showPercent val="0"/>
              <c:showBubbleSize val="0"/>
            </c:dLbl>
            <c:dLbl>
              <c:idx val="1"/>
              <c:tx>
                <c:rich>
                  <a:bodyPr/>
                  <a:lstStyle/>
                  <a:p>
                    <a:pPr>
                      <a:defRPr sz="800">
                        <a:latin typeface="Nexa Book"/>
                      </a:defRPr>
                    </a:pPr>
                    <a:r>
                      <a:t>969</a:t>
                    </a:r>
                  </a:p>
                </c:rich>
              </c:tx>
              <c:dLblPos val="ctr"/>
              <c:showLegendKey val="0"/>
              <c:showVal val="1"/>
              <c:showCatName val="0"/>
              <c:showSerName val="0"/>
              <c:showPercent val="0"/>
              <c:showBubbleSize val="0"/>
            </c:dLbl>
            <c:dLbl>
              <c:idx val="2"/>
              <c:tx>
                <c:rich>
                  <a:bodyPr/>
                  <a:lstStyle/>
                  <a:p>
                    <a:pPr>
                      <a:defRPr sz="800">
                        <a:latin typeface="Nexa Book"/>
                      </a:defRPr>
                    </a:pPr>
                    <a:r>
                      <a:t>514</a:t>
                    </a:r>
                  </a:p>
                </c:rich>
              </c:tx>
              <c:dLblPos val="ctr"/>
              <c:showLegendKey val="0"/>
              <c:showVal val="1"/>
              <c:showCatName val="0"/>
              <c:showSerName val="0"/>
              <c:showPercent val="0"/>
              <c:showBubbleSize val="0"/>
            </c:dLbl>
            <c:dLbl>
              <c:idx val="3"/>
              <c:tx>
                <c:rich>
                  <a:bodyPr/>
                  <a:lstStyle/>
                  <a:p>
                    <a:pPr>
                      <a:defRPr sz="800">
                        <a:latin typeface="Nexa Book"/>
                      </a:defRPr>
                    </a:pPr>
                    <a:r>
                      <a:t>25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3593137.0</c:v>
                </c:pt>
                <c:pt idx="1">
                  <c:v>96913996.0</c:v>
                </c:pt>
                <c:pt idx="2">
                  <c:v>51375388.0</c:v>
                </c:pt>
                <c:pt idx="3">
                  <c:v>253037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2877.0</c:v>
                </c:pt>
                <c:pt idx="1">
                  <c:v>2315.0</c:v>
                </c:pt>
                <c:pt idx="2">
                  <c:v>60379.0</c:v>
                </c:pt>
                <c:pt idx="3">
                  <c:v>183.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5066403666114805</c:v>
                </c:pt>
                <c:pt idx="1">
                  <c:v>-0.020246504185413294</c:v>
                </c:pt>
                <c:pt idx="2">
                  <c:v>0.04865343225307309</c:v>
                </c:pt>
                <c:pt idx="3">
                  <c:v>0.029125433390400614</c:v>
                </c:pt>
                <c:pt idx="4">
                  <c:v>-0.015764640888846798</c:v>
                </c:pt>
                <c:pt idx="5">
                  <c:v>0.009665570325908774</c:v>
                </c:pt>
                <c:pt idx="6">
                  <c:v>0.0009067778975535255</c:v>
                </c:pt>
                <c:pt idx="7">
                  <c:v>-0.0004555078972268739</c:v>
                </c:pt>
                <c:pt idx="8">
                  <c:v>-0.0012205242343010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4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424421258742383</c:v>
                </c:pt>
                <c:pt idx="2">
                  <c:v>0.04307675884326362</c:v>
                </c:pt>
                <c:pt idx="3">
                  <c:v>-0.008832546255839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9.7 %</a:t>
                    </a:r>
                  </a:p>
                </c:rich>
              </c:tx>
              <c:dLblPos val="ctr"/>
              <c:showLegendKey val="0"/>
              <c:showVal val="1"/>
              <c:showCatName val="0"/>
              <c:showSerName val="0"/>
              <c:showPercent val="0"/>
              <c:showBubbleSize val="0"/>
            </c:dLbl>
            <c:dLbl>
              <c:idx val="2"/>
              <c:tx>
                <c:rich>
                  <a:bodyPr/>
                  <a:lstStyle/>
                  <a:p>
                    <a:pPr>
                      <a:defRPr sz="800">
                        <a:latin typeface="Nexa Book"/>
                      </a:defRPr>
                    </a:pPr>
                    <a:r>
                      <a:t>48.5 %</a:t>
                    </a:r>
                  </a:p>
                </c:rich>
              </c:tx>
              <c:dLblPos val="ctr"/>
              <c:showLegendKey val="0"/>
              <c:showVal val="1"/>
              <c:showCatName val="0"/>
              <c:showSerName val="0"/>
              <c:showPercent val="0"/>
              <c:showBubbleSize val="0"/>
            </c:dLbl>
            <c:dLbl>
              <c:idx val="3"/>
              <c:tx>
                <c:rich>
                  <a:bodyPr/>
                  <a:lstStyle/>
                  <a:p>
                    <a:pPr>
                      <a:defRPr sz="800">
                        <a:latin typeface="Nexa Book"/>
                      </a:defRPr>
                    </a:pPr>
                    <a:r>
                      <a:t>-38.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966449493518968</c:v>
                </c:pt>
                <c:pt idx="2">
                  <c:v>0.48473680454815987</c:v>
                </c:pt>
                <c:pt idx="3">
                  <c:v>-0.388091855196263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6 %</a:t>
                    </a:r>
                  </a:p>
                </c:rich>
              </c:tx>
              <c:dLblPos val="ctr"/>
              <c:showLegendKey val="0"/>
              <c:showVal val="1"/>
              <c:showCatName val="0"/>
              <c:showSerName val="0"/>
              <c:showPercent val="0"/>
              <c:showBubbleSize val="0"/>
            </c:dLbl>
            <c:dLbl>
              <c:idx val="2"/>
              <c:tx>
                <c:rich>
                  <a:bodyPr/>
                  <a:lstStyle/>
                  <a:p>
                    <a:pPr>
                      <a:defRPr sz="800">
                        <a:latin typeface="Nexa Book"/>
                      </a:defRPr>
                    </a:pPr>
                    <a:r>
                      <a:t>19.0 %</a:t>
                    </a:r>
                  </a:p>
                </c:rich>
              </c:tx>
              <c:dLblPos val="ctr"/>
              <c:showLegendKey val="0"/>
              <c:showVal val="1"/>
              <c:showCatName val="0"/>
              <c:showSerName val="0"/>
              <c:showPercent val="0"/>
              <c:showBubbleSize val="0"/>
            </c:dLbl>
            <c:dLbl>
              <c:idx val="3"/>
              <c:tx>
                <c:rich>
                  <a:bodyPr/>
                  <a:lstStyle/>
                  <a:p>
                    <a:pPr>
                      <a:defRPr sz="800">
                        <a:latin typeface="Nexa Book"/>
                      </a:defRPr>
                    </a:pPr>
                    <a:r>
                      <a:t>18.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260463979053142</c:v>
                </c:pt>
                <c:pt idx="2">
                  <c:v>0.18975067723473066</c:v>
                </c:pt>
                <c:pt idx="3">
                  <c:v>0.184202924859955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3 %</a:t>
                    </a:r>
                  </a:p>
                </c:rich>
              </c:tx>
              <c:dLblPos val="ctr"/>
              <c:showLegendKey val="0"/>
              <c:showVal val="1"/>
              <c:showCatName val="0"/>
              <c:showSerName val="0"/>
              <c:showPercent val="0"/>
              <c:showBubbleSize val="0"/>
            </c:dLbl>
            <c:dLbl>
              <c:idx val="2"/>
              <c:tx>
                <c:rich>
                  <a:bodyPr/>
                  <a:lstStyle/>
                  <a:p>
                    <a:pPr>
                      <a:defRPr sz="800">
                        <a:latin typeface="Nexa Book"/>
                      </a:defRPr>
                    </a:pPr>
                    <a:r>
                      <a:t>24.7 %</a:t>
                    </a:r>
                  </a:p>
                </c:rich>
              </c:tx>
              <c:dLblPos val="ctr"/>
              <c:showLegendKey val="0"/>
              <c:showVal val="1"/>
              <c:showCatName val="0"/>
              <c:showSerName val="0"/>
              <c:showPercent val="0"/>
              <c:showBubbleSize val="0"/>
            </c:dLbl>
            <c:dLbl>
              <c:idx val="3"/>
              <c:tx>
                <c:rich>
                  <a:bodyPr/>
                  <a:lstStyle/>
                  <a:p>
                    <a:pPr>
                      <a:defRPr sz="800">
                        <a:latin typeface="Nexa Book"/>
                      </a:defRPr>
                    </a:pPr>
                    <a:r>
                      <a:t>20.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5526131294027969</c:v>
                </c:pt>
                <c:pt idx="2">
                  <c:v>0.24676407906697817</c:v>
                </c:pt>
                <c:pt idx="3">
                  <c:v>0.2006227915302249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729</a:t>
                    </a:r>
                  </a:p>
                </c:rich>
              </c:tx>
              <c:dLblPos val="ctr"/>
              <c:showLegendKey val="0"/>
              <c:showVal val="1"/>
              <c:showCatName val="0"/>
              <c:showSerName val="0"/>
              <c:showPercent val="0"/>
              <c:showBubbleSize val="0"/>
            </c:dLbl>
            <c:dLbl>
              <c:idx val="1"/>
              <c:tx>
                <c:rich>
                  <a:bodyPr/>
                  <a:lstStyle/>
                  <a:p>
                    <a:pPr>
                      <a:defRPr sz="800">
                        <a:latin typeface="Nexa Book"/>
                      </a:defRPr>
                    </a:pPr>
                    <a:r>
                      <a:t>457</a:t>
                    </a:r>
                  </a:p>
                </c:rich>
              </c:tx>
              <c:dLblPos val="ctr"/>
              <c:showLegendKey val="0"/>
              <c:showVal val="1"/>
              <c:showCatName val="0"/>
              <c:showSerName val="0"/>
              <c:showPercent val="0"/>
              <c:showBubbleSize val="0"/>
            </c:dLbl>
            <c:dLbl>
              <c:idx val="2"/>
              <c:tx>
                <c:rich>
                  <a:bodyPr/>
                  <a:lstStyle/>
                  <a:p>
                    <a:pPr>
                      <a:defRPr sz="800">
                        <a:latin typeface="Nexa Book"/>
                      </a:defRPr>
                    </a:pPr>
                    <a:r>
                      <a:t>138</a:t>
                    </a:r>
                  </a:p>
                </c:rich>
              </c:tx>
              <c:dLblPos val="ctr"/>
              <c:showLegendKey val="0"/>
              <c:showVal val="1"/>
              <c:showCatName val="0"/>
              <c:showSerName val="0"/>
              <c:showPercent val="0"/>
              <c:showBubbleSize val="0"/>
            </c:dLbl>
            <c:dLbl>
              <c:idx val="3"/>
              <c:tx>
                <c:rich>
                  <a:bodyPr/>
                  <a:lstStyle/>
                  <a:p>
                    <a:pPr>
                      <a:defRPr sz="800">
                        <a:latin typeface="Nexa Book"/>
                      </a:defRPr>
                    </a:pPr>
                    <a:r>
                      <a:t>13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72939629.0</c:v>
                </c:pt>
                <c:pt idx="1">
                  <c:v>45663592.0</c:v>
                </c:pt>
                <c:pt idx="2">
                  <c:v>13840344.0</c:v>
                </c:pt>
                <c:pt idx="3">
                  <c:v>1343569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61</a:t>
                    </a:r>
                  </a:p>
                </c:rich>
              </c:tx>
              <c:dLblPos val="ctr"/>
              <c:showLegendKey val="0"/>
              <c:showVal val="1"/>
              <c:showCatName val="0"/>
              <c:showSerName val="0"/>
              <c:showPercent val="0"/>
              <c:showBubbleSize val="0"/>
            </c:dLbl>
            <c:dLbl>
              <c:idx val="1"/>
              <c:tx>
                <c:rich>
                  <a:bodyPr/>
                  <a:lstStyle/>
                  <a:p>
                    <a:pPr>
                      <a:defRPr sz="800">
                        <a:latin typeface="Nexa Book"/>
                      </a:defRPr>
                    </a:pPr>
                    <a:r>
                      <a:t>310</a:t>
                    </a:r>
                  </a:p>
                </c:rich>
              </c:tx>
              <c:dLblPos val="ctr"/>
              <c:showLegendKey val="0"/>
              <c:showVal val="1"/>
              <c:showCatName val="0"/>
              <c:showSerName val="0"/>
              <c:showPercent val="0"/>
              <c:showBubbleSize val="0"/>
            </c:dLbl>
            <c:dLbl>
              <c:idx val="2"/>
              <c:tx>
                <c:rich>
                  <a:bodyPr/>
                  <a:lstStyle/>
                  <a:p>
                    <a:pPr>
                      <a:defRPr sz="800">
                        <a:latin typeface="Nexa Book"/>
                      </a:defRPr>
                    </a:pPr>
                    <a:r>
                      <a:t>138</a:t>
                    </a:r>
                  </a:p>
                </c:rich>
              </c:tx>
              <c:dLblPos val="ctr"/>
              <c:showLegendKey val="0"/>
              <c:showVal val="1"/>
              <c:showCatName val="0"/>
              <c:showSerName val="0"/>
              <c:showPercent val="0"/>
              <c:showBubbleSize val="0"/>
            </c:dLbl>
            <c:dLbl>
              <c:idx val="3"/>
              <c:tx>
                <c:rich>
                  <a:bodyPr/>
                  <a:lstStyle/>
                  <a:p>
                    <a:pPr>
                      <a:defRPr sz="800">
                        <a:latin typeface="Nexa Book"/>
                      </a:defRPr>
                    </a:pPr>
                    <a:r>
                      <a:t>11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56080403.0</c:v>
                </c:pt>
                <c:pt idx="1">
                  <c:v>30990767.0</c:v>
                </c:pt>
                <c:pt idx="2">
                  <c:v>13838629.0</c:v>
                </c:pt>
                <c:pt idx="3">
                  <c:v>1125100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1 %</a:t>
                    </a:r>
                  </a:p>
                </c:rich>
              </c:tx>
              <c:dLblPos val="ctr"/>
              <c:showLegendKey val="0"/>
              <c:showVal val="1"/>
              <c:showCatName val="0"/>
              <c:showSerName val="0"/>
              <c:showPercent val="0"/>
              <c:showBubbleSize val="0"/>
            </c:dLbl>
            <c:dLbl>
              <c:idx val="2"/>
              <c:tx>
                <c:rich>
                  <a:bodyPr/>
                  <a:lstStyle/>
                  <a:p>
                    <a:pPr>
                      <a:defRPr sz="800">
                        <a:latin typeface="Nexa Book"/>
                      </a:defRPr>
                    </a:pPr>
                    <a:r>
                      <a:t>-2.6 %</a:t>
                    </a:r>
                  </a:p>
                </c:rich>
              </c:tx>
              <c:dLblPos val="ctr"/>
              <c:showLegendKey val="0"/>
              <c:showVal val="1"/>
              <c:showCatName val="0"/>
              <c:showSerName val="0"/>
              <c:showPercent val="0"/>
              <c:showBubbleSize val="0"/>
            </c:dLbl>
            <c:dLbl>
              <c:idx val="3"/>
              <c:tx>
                <c:rich>
                  <a:bodyPr/>
                  <a:lstStyle/>
                  <a:p>
                    <a:pPr>
                      <a:defRPr sz="800">
                        <a:latin typeface="Nexa Book"/>
                      </a:defRPr>
                    </a:pPr>
                    <a:r>
                      <a:t>2.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09012008860312948</c:v>
                </c:pt>
                <c:pt idx="2">
                  <c:v>-0.02641976126189896</c:v>
                </c:pt>
                <c:pt idx="3">
                  <c:v>0.0273209621479302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5 %</a:t>
                    </a:r>
                  </a:p>
                </c:rich>
              </c:tx>
              <c:dLblPos val="ctr"/>
              <c:showLegendKey val="0"/>
              <c:showVal val="1"/>
              <c:showCatName val="0"/>
              <c:showSerName val="0"/>
              <c:showPercent val="0"/>
              <c:showBubbleSize val="0"/>
            </c:dLbl>
            <c:dLbl>
              <c:idx val="2"/>
              <c:tx>
                <c:rich>
                  <a:bodyPr/>
                  <a:lstStyle/>
                  <a:p>
                    <a:pPr>
                      <a:defRPr sz="800">
                        <a:latin typeface="Nexa Book"/>
                      </a:defRPr>
                    </a:pPr>
                    <a:r>
                      <a:t>-3.0 %</a:t>
                    </a:r>
                  </a:p>
                </c:rich>
              </c:tx>
              <c:dLblPos val="ctr"/>
              <c:showLegendKey val="0"/>
              <c:showVal val="1"/>
              <c:showCatName val="0"/>
              <c:showSerName val="0"/>
              <c:showPercent val="0"/>
              <c:showBubbleSize val="0"/>
            </c:dLbl>
            <c:dLbl>
              <c:idx val="3"/>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4744038462614286</c:v>
                </c:pt>
                <c:pt idx="2">
                  <c:v>-0.030319901369025515</c:v>
                </c:pt>
                <c:pt idx="3">
                  <c:v>0.0255758629064112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4 %</a:t>
                    </a:r>
                  </a:p>
                </c:rich>
              </c:tx>
              <c:dLblPos val="ctr"/>
              <c:showLegendKey val="0"/>
              <c:showVal val="1"/>
              <c:showCatName val="0"/>
              <c:showSerName val="0"/>
              <c:showPercent val="0"/>
              <c:showBubbleSize val="0"/>
            </c:dLbl>
            <c:dLbl>
              <c:idx val="2"/>
              <c:tx>
                <c:rich>
                  <a:bodyPr/>
                  <a:lstStyle/>
                  <a:p>
                    <a:pPr>
                      <a:defRPr sz="800">
                        <a:latin typeface="Nexa Book"/>
                      </a:defRPr>
                    </a:pPr>
                    <a:r>
                      <a:t>24.0 %</a:t>
                    </a:r>
                  </a:p>
                </c:rich>
              </c:tx>
              <c:dLblPos val="ctr"/>
              <c:showLegendKey val="0"/>
              <c:showVal val="1"/>
              <c:showCatName val="0"/>
              <c:showSerName val="0"/>
              <c:showPercent val="0"/>
              <c:showBubbleSize val="0"/>
            </c:dLbl>
            <c:dLbl>
              <c:idx val="3"/>
              <c:tx>
                <c:rich>
                  <a:bodyPr/>
                  <a:lstStyle/>
                  <a:p>
                    <a:pPr>
                      <a:defRPr sz="800">
                        <a:latin typeface="Nexa Book"/>
                      </a:defRPr>
                    </a:pPr>
                    <a:r>
                      <a:t>11.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443876227558775</c:v>
                </c:pt>
                <c:pt idx="2">
                  <c:v>0.2399139158714767</c:v>
                </c:pt>
                <c:pt idx="3">
                  <c:v>0.115698461372645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2.7 %</a:t>
                    </a:r>
                  </a:p>
                </c:rich>
              </c:tx>
              <c:dLblPos val="ctr"/>
              <c:showLegendKey val="0"/>
              <c:showVal val="1"/>
              <c:showCatName val="0"/>
              <c:showSerName val="0"/>
              <c:showPercent val="0"/>
              <c:showBubbleSize val="0"/>
            </c:dLbl>
            <c:dLbl>
              <c:idx val="2"/>
              <c:tx>
                <c:rich>
                  <a:bodyPr/>
                  <a:lstStyle/>
                  <a:p>
                    <a:pPr>
                      <a:defRPr sz="800">
                        <a:latin typeface="Nexa Book"/>
                      </a:defRPr>
                    </a:pPr>
                    <a:r>
                      <a:t>14.1 %</a:t>
                    </a:r>
                  </a:p>
                </c:rich>
              </c:tx>
              <c:dLblPos val="ctr"/>
              <c:showLegendKey val="0"/>
              <c:showVal val="1"/>
              <c:showCatName val="0"/>
              <c:showSerName val="0"/>
              <c:showPercent val="0"/>
              <c:showBubbleSize val="0"/>
            </c:dLbl>
            <c:dLbl>
              <c:idx val="3"/>
              <c:tx>
                <c:rich>
                  <a:bodyPr/>
                  <a:lstStyle/>
                  <a:p>
                    <a:pPr>
                      <a:defRPr sz="800">
                        <a:latin typeface="Nexa Book"/>
                      </a:defRPr>
                    </a:pPr>
                    <a:r>
                      <a:t>13.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7268717760408424</c:v>
                </c:pt>
                <c:pt idx="2">
                  <c:v>0.14098519591892456</c:v>
                </c:pt>
                <c:pt idx="3">
                  <c:v>0.1321430280402330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554</a:t>
                    </a:r>
                  </a:p>
                </c:rich>
              </c:tx>
              <c:dLblPos val="ctr"/>
              <c:showLegendKey val="0"/>
              <c:showVal val="1"/>
              <c:showCatName val="0"/>
              <c:showSerName val="0"/>
              <c:showPercent val="0"/>
              <c:showBubbleSize val="0"/>
            </c:dLbl>
            <c:dLbl>
              <c:idx val="1"/>
              <c:tx>
                <c:rich>
                  <a:bodyPr/>
                  <a:lstStyle/>
                  <a:p>
                    <a:pPr>
                      <a:defRPr sz="800">
                        <a:latin typeface="Nexa Book"/>
                      </a:defRPr>
                    </a:pPr>
                    <a:r>
                      <a:t>1646</a:t>
                    </a:r>
                  </a:p>
                </c:rich>
              </c:tx>
              <c:dLblPos val="ctr"/>
              <c:showLegendKey val="0"/>
              <c:showVal val="1"/>
              <c:showCatName val="0"/>
              <c:showSerName val="0"/>
              <c:showPercent val="0"/>
              <c:showBubbleSize val="0"/>
            </c:dLbl>
            <c:dLbl>
              <c:idx val="2"/>
              <c:tx>
                <c:rich>
                  <a:bodyPr/>
                  <a:lstStyle/>
                  <a:p>
                    <a:pPr>
                      <a:defRPr sz="800">
                        <a:latin typeface="Nexa Book"/>
                      </a:defRPr>
                    </a:pPr>
                    <a:r>
                      <a:t>613</a:t>
                    </a:r>
                  </a:p>
                </c:rich>
              </c:tx>
              <c:dLblPos val="ctr"/>
              <c:showLegendKey val="0"/>
              <c:showVal val="1"/>
              <c:showCatName val="0"/>
              <c:showSerName val="0"/>
              <c:showPercent val="0"/>
              <c:showBubbleSize val="0"/>
            </c:dLbl>
            <c:dLbl>
              <c:idx val="3"/>
              <c:tx>
                <c:rich>
                  <a:bodyPr/>
                  <a:lstStyle/>
                  <a:p>
                    <a:pPr>
                      <a:defRPr sz="800">
                        <a:latin typeface="Nexa Book"/>
                      </a:defRPr>
                    </a:pPr>
                    <a:r>
                      <a:t>29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255371581.0</c:v>
                </c:pt>
                <c:pt idx="1">
                  <c:v>164558286.0</c:v>
                </c:pt>
                <c:pt idx="2">
                  <c:v>61267196.0</c:v>
                </c:pt>
                <c:pt idx="3">
                  <c:v>29546099.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78</a:t>
                    </a:r>
                  </a:p>
                </c:rich>
              </c:tx>
              <c:dLblPos val="ctr"/>
              <c:showLegendKey val="0"/>
              <c:showVal val="1"/>
              <c:showCatName val="0"/>
              <c:showSerName val="0"/>
              <c:showPercent val="0"/>
              <c:showBubbleSize val="0"/>
            </c:dLbl>
            <c:dLbl>
              <c:idx val="1"/>
              <c:tx>
                <c:rich>
                  <a:bodyPr/>
                  <a:lstStyle/>
                  <a:p>
                    <a:pPr>
                      <a:defRPr sz="800">
                        <a:latin typeface="Nexa Book"/>
                      </a:defRPr>
                    </a:pPr>
                    <a:r>
                      <a:t>275</a:t>
                    </a:r>
                  </a:p>
                </c:rich>
              </c:tx>
              <c:dLblPos val="ctr"/>
              <c:showLegendKey val="0"/>
              <c:showVal val="1"/>
              <c:showCatName val="0"/>
              <c:showSerName val="0"/>
              <c:showPercent val="0"/>
              <c:showBubbleSize val="0"/>
            </c:dLbl>
            <c:dLbl>
              <c:idx val="2"/>
              <c:tx>
                <c:rich>
                  <a:bodyPr/>
                  <a:lstStyle/>
                  <a:p>
                    <a:pPr>
                      <a:defRPr sz="800">
                        <a:latin typeface="Nexa Book"/>
                      </a:defRPr>
                    </a:pPr>
                    <a:r>
                      <a:t>53</a:t>
                    </a:r>
                  </a:p>
                </c:rich>
              </c:tx>
              <c:dLblPos val="ctr"/>
              <c:showLegendKey val="0"/>
              <c:showVal val="1"/>
              <c:showCatName val="0"/>
              <c:showSerName val="0"/>
              <c:showPercent val="0"/>
              <c:showBubbleSize val="0"/>
            </c:dLbl>
            <c:dLbl>
              <c:idx val="3"/>
              <c:tx>
                <c:rich>
                  <a:bodyPr/>
                  <a:lstStyle/>
                  <a:p>
                    <a:pPr>
                      <a:defRPr sz="800">
                        <a:latin typeface="Nexa Book"/>
                      </a:defRPr>
                    </a:pPr>
                    <a:r>
                      <a:t>5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7804643.0</c:v>
                </c:pt>
                <c:pt idx="1">
                  <c:v>27479128.0</c:v>
                </c:pt>
                <c:pt idx="2">
                  <c:v>5329895.0</c:v>
                </c:pt>
                <c:pt idx="3">
                  <c:v>499562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8976593341840764</c:v>
                </c:pt>
                <c:pt idx="2">
                  <c:v>0.02755166806656173</c:v>
                </c:pt>
                <c:pt idx="3">
                  <c:v>-0.0085750747247210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2 %</a:t>
                    </a:r>
                  </a:p>
                </c:rich>
              </c:tx>
              <c:dLblPos val="ctr"/>
              <c:showLegendKey val="0"/>
              <c:showVal val="1"/>
              <c:showCatName val="0"/>
              <c:showSerName val="0"/>
              <c:showPercent val="0"/>
              <c:showBubbleSize val="0"/>
            </c:dLbl>
            <c:dLbl>
              <c:idx val="2"/>
              <c:tx>
                <c:rich>
                  <a:bodyPr/>
                  <a:lstStyle/>
                  <a:p>
                    <a:pPr>
                      <a:defRPr sz="800">
                        <a:latin typeface="Nexa Book"/>
                      </a:defRPr>
                    </a:pPr>
                    <a:r>
                      <a:t>9.0 %</a:t>
                    </a:r>
                  </a:p>
                </c:rich>
              </c:tx>
              <c:dLblPos val="ctr"/>
              <c:showLegendKey val="0"/>
              <c:showVal val="1"/>
              <c:showCatName val="0"/>
              <c:showSerName val="0"/>
              <c:showPercent val="0"/>
              <c:showBubbleSize val="0"/>
            </c:dLbl>
            <c:dLbl>
              <c:idx val="3"/>
              <c:tx>
                <c:rich>
                  <a:bodyPr/>
                  <a:lstStyle/>
                  <a:p>
                    <a:pPr>
                      <a:defRPr sz="800">
                        <a:latin typeface="Nexa Book"/>
                      </a:defRPr>
                    </a:pPr>
                    <a:r>
                      <a:t>5.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14219360189985775</c:v>
                </c:pt>
                <c:pt idx="2">
                  <c:v>0.09042439591189547</c:v>
                </c:pt>
                <c:pt idx="3">
                  <c:v>0.05176920598796229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7 %</a:t>
                    </a:r>
                  </a:p>
                </c:rich>
              </c:tx>
              <c:dLblPos val="ctr"/>
              <c:showLegendKey val="0"/>
              <c:showVal val="1"/>
              <c:showCatName val="0"/>
              <c:showSerName val="0"/>
              <c:showPercent val="0"/>
              <c:showBubbleSize val="0"/>
            </c:dLbl>
            <c:dLbl>
              <c:idx val="2"/>
              <c:tx>
                <c:rich>
                  <a:bodyPr/>
                  <a:lstStyle/>
                  <a:p>
                    <a:pPr>
                      <a:defRPr sz="800">
                        <a:latin typeface="Nexa Book"/>
                      </a:defRPr>
                    </a:pPr>
                    <a:r>
                      <a:t>19.8 %</a:t>
                    </a:r>
                  </a:p>
                </c:rich>
              </c:tx>
              <c:dLblPos val="ctr"/>
              <c:showLegendKey val="0"/>
              <c:showVal val="1"/>
              <c:showCatName val="0"/>
              <c:showSerName val="0"/>
              <c:showPercent val="0"/>
              <c:showBubbleSize val="0"/>
            </c:dLbl>
            <c:dLbl>
              <c:idx val="3"/>
              <c:tx>
                <c:rich>
                  <a:bodyPr/>
                  <a:lstStyle/>
                  <a:p>
                    <a:pPr>
                      <a:defRPr sz="800">
                        <a:latin typeface="Nexa Book"/>
                      </a:defRPr>
                    </a:pPr>
                    <a:r>
                      <a:t>17.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267894471091975</c:v>
                </c:pt>
                <c:pt idx="2">
                  <c:v>0.19812862594620256</c:v>
                </c:pt>
                <c:pt idx="3">
                  <c:v>0.17508192694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4.9 %</a:t>
                    </a:r>
                  </a:p>
                </c:rich>
              </c:tx>
              <c:dLblPos val="ctr"/>
              <c:showLegendKey val="0"/>
              <c:showVal val="1"/>
              <c:showCatName val="0"/>
              <c:showSerName val="0"/>
              <c:showPercent val="0"/>
              <c:showBubbleSize val="0"/>
            </c:dLbl>
            <c:dLbl>
              <c:idx val="3"/>
              <c:tx>
                <c:rich>
                  <a:bodyPr/>
                  <a:lstStyle/>
                  <a:p>
                    <a:pPr>
                      <a:defRPr sz="800">
                        <a:latin typeface="Nexa Book"/>
                      </a:defRPr>
                    </a:pPr>
                    <a:r>
                      <a:t>85.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c:v>
                </c:pt>
                <c:pt idx="2">
                  <c:v>0.14906102130440815</c:v>
                </c:pt>
                <c:pt idx="3">
                  <c:v>0.85081989963336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78</a:t>
                    </a:r>
                  </a:p>
                </c:rich>
              </c:tx>
              <c:dLblPos val="ctr"/>
              <c:showLegendKey val="0"/>
              <c:showVal val="1"/>
              <c:showCatName val="0"/>
              <c:showSerName val="0"/>
              <c:showPercent val="0"/>
              <c:showBubbleSize val="0"/>
            </c:dLbl>
            <c:dLbl>
              <c:idx val="1"/>
              <c:tx>
                <c:rich>
                  <a:bodyPr/>
                  <a:lstStyle/>
                  <a:p>
                    <a:pPr>
                      <a:defRPr sz="800">
                        <a:latin typeface="Nexa Book"/>
                      </a:defRPr>
                    </a:pPr>
                    <a:r>
                      <a:t>989</a:t>
                    </a:r>
                  </a:p>
                </c:rich>
              </c:tx>
              <c:dLblPos val="ctr"/>
              <c:showLegendKey val="0"/>
              <c:showVal val="1"/>
              <c:showCatName val="0"/>
              <c:showSerName val="0"/>
              <c:showPercent val="0"/>
              <c:showBubbleSize val="0"/>
            </c:dLbl>
            <c:dLbl>
              <c:idx val="2"/>
              <c:tx>
                <c:rich>
                  <a:bodyPr/>
                  <a:lstStyle/>
                  <a:p>
                    <a:pPr>
                      <a:defRPr sz="800">
                        <a:latin typeface="Nexa Book"/>
                      </a:defRPr>
                    </a:pPr>
                    <a:r>
                      <a:t>313</a:t>
                    </a:r>
                  </a:p>
                </c:rich>
              </c:tx>
              <c:dLblPos val="ctr"/>
              <c:showLegendKey val="0"/>
              <c:showVal val="1"/>
              <c:showCatName val="0"/>
              <c:showSerName val="0"/>
              <c:showPercent val="0"/>
              <c:showBubbleSize val="0"/>
            </c:dLbl>
            <c:dLbl>
              <c:idx val="3"/>
              <c:tx>
                <c:rich>
                  <a:bodyPr/>
                  <a:lstStyle/>
                  <a:p>
                    <a:pPr>
                      <a:defRPr sz="800">
                        <a:latin typeface="Nexa Book"/>
                      </a:defRPr>
                    </a:pPr>
                    <a:r>
                      <a:t>27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57809498.0</c:v>
                </c:pt>
                <c:pt idx="1">
                  <c:v>98913328.0</c:v>
                </c:pt>
                <c:pt idx="2">
                  <c:v>31266579.0</c:v>
                </c:pt>
                <c:pt idx="3">
                  <c:v>276295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1</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r>
                      <a:t>2</a:t>
                    </a:r>
                  </a:p>
                </c:rich>
              </c:tx>
              <c:dLblPos val="ctr"/>
              <c:showLegendKey val="0"/>
              <c:showVal val="1"/>
              <c:showCatName val="0"/>
              <c:showSerName val="0"/>
              <c:showPercent val="0"/>
              <c:showBubbleSize val="0"/>
            </c:dLbl>
            <c:dLbl>
              <c:idx val="3"/>
              <c:tx>
                <c:rich>
                  <a:bodyPr/>
                  <a:lstStyle/>
                  <a:p>
                    <a:pPr>
                      <a:defRPr sz="800">
                        <a:latin typeface="Nexa Book"/>
                      </a:defRPr>
                    </a:pPr>
                    <a:r>
                      <a:t>1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116905.0</c:v>
                </c:pt>
                <c:pt idx="1">
                  <c:v>133.0</c:v>
                </c:pt>
                <c:pt idx="2">
                  <c:v>166487.0</c:v>
                </c:pt>
                <c:pt idx="3">
                  <c:v>950285.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1 %</a:t>
                    </a:r>
                  </a:p>
                </c:rich>
              </c:tx>
              <c:dLblPos val="ctr"/>
              <c:showLegendKey val="0"/>
              <c:showVal val="1"/>
              <c:showCatName val="0"/>
              <c:showSerName val="0"/>
              <c:showPercent val="0"/>
              <c:showBubbleSize val="0"/>
            </c:dLbl>
            <c:dLbl>
              <c:idx val="2"/>
              <c:tx>
                <c:rich>
                  <a:bodyPr/>
                  <a:lstStyle/>
                  <a:p>
                    <a:pPr>
                      <a:defRPr sz="800">
                        <a:latin typeface="Nexa Book"/>
                      </a:defRPr>
                    </a:pPr>
                    <a:r>
                      <a:t>1.2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21381745065998548</c:v>
                </c:pt>
                <c:pt idx="2">
                  <c:v>0.012285514799353525</c:v>
                </c:pt>
                <c:pt idx="3">
                  <c:v>0.009096230266645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0.2 %</a:t>
                    </a:r>
                  </a:p>
                </c:rich>
              </c:tx>
              <c:dLblPos val="ctr"/>
              <c:showLegendKey val="0"/>
              <c:showVal val="1"/>
              <c:showCatName val="0"/>
              <c:showSerName val="0"/>
              <c:showPercent val="0"/>
              <c:showBubbleSize val="0"/>
            </c:dLbl>
            <c:dLbl>
              <c:idx val="3"/>
              <c:tx>
                <c:rich>
                  <a:bodyPr/>
                  <a:lstStyle/>
                  <a:p>
                    <a:pPr>
                      <a:defRPr sz="800">
                        <a:latin typeface="Nexa Book"/>
                      </a:defRPr>
                    </a:pPr>
                    <a:r>
                      <a:t>-1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c:v>
                </c:pt>
                <c:pt idx="2">
                  <c:v>0.10196590221203139</c:v>
                </c:pt>
                <c:pt idx="3">
                  <c:v>-0.101372859727055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4 %</a:t>
                    </a:r>
                  </a:p>
                </c:rich>
              </c:tx>
              <c:dLblPos val="ctr"/>
              <c:showLegendKey val="0"/>
              <c:showVal val="1"/>
              <c:showCatName val="0"/>
              <c:showSerName val="0"/>
              <c:showPercent val="0"/>
              <c:showBubbleSize val="0"/>
            </c:dLbl>
            <c:dLbl>
              <c:idx val="2"/>
              <c:tx>
                <c:rich>
                  <a:bodyPr/>
                  <a:lstStyle/>
                  <a:p>
                    <a:pPr>
                      <a:defRPr sz="800">
                        <a:latin typeface="Nexa Book"/>
                      </a:defRPr>
                    </a:pPr>
                    <a:r>
                      <a:t>24.0 %</a:t>
                    </a:r>
                  </a:p>
                </c:rich>
              </c:tx>
              <c:dLblPos val="ctr"/>
              <c:showLegendKey val="0"/>
              <c:showVal val="1"/>
              <c:showCatName val="0"/>
              <c:showSerName val="0"/>
              <c:showPercent val="0"/>
              <c:showBubbleSize val="0"/>
            </c:dLbl>
            <c:dLbl>
              <c:idx val="3"/>
              <c:tx>
                <c:rich>
                  <a:bodyPr/>
                  <a:lstStyle/>
                  <a:p>
                    <a:pPr>
                      <a:defRPr sz="800">
                        <a:latin typeface="Nexa Book"/>
                      </a:defRPr>
                    </a:pPr>
                    <a:r>
                      <a:t>11.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443876227558775</c:v>
                </c:pt>
                <c:pt idx="2">
                  <c:v>0.2399139158714767</c:v>
                </c:pt>
                <c:pt idx="3">
                  <c:v>0.115698461372645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1.9 %</a:t>
                    </a:r>
                  </a:p>
                </c:rich>
              </c:tx>
              <c:dLblPos val="ctr"/>
              <c:showLegendKey val="0"/>
              <c:showVal val="1"/>
              <c:showCatName val="0"/>
              <c:showSerName val="0"/>
              <c:showPercent val="0"/>
              <c:showBubbleSize val="0"/>
            </c:dLbl>
            <c:dLbl>
              <c:idx val="2"/>
              <c:tx>
                <c:rich>
                  <a:bodyPr/>
                  <a:lstStyle/>
                  <a:p>
                    <a:pPr>
                      <a:defRPr sz="800">
                        <a:latin typeface="Nexa Book"/>
                      </a:defRPr>
                    </a:pPr>
                    <a:r>
                      <a:t>24.1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188360329986765</c:v>
                </c:pt>
                <c:pt idx="2">
                  <c:v>0.24055241781374906</c:v>
                </c:pt>
                <c:pt idx="3">
                  <c:v>0.140611549187574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554</a:t>
                    </a:r>
                  </a:p>
                </c:rich>
              </c:tx>
              <c:dLblPos val="ctr"/>
              <c:showLegendKey val="0"/>
              <c:showVal val="1"/>
              <c:showCatName val="0"/>
              <c:showSerName val="0"/>
              <c:showPercent val="0"/>
              <c:showBubbleSize val="0"/>
            </c:dLbl>
            <c:dLbl>
              <c:idx val="1"/>
              <c:tx>
                <c:rich>
                  <a:bodyPr/>
                  <a:lstStyle/>
                  <a:p>
                    <a:pPr>
                      <a:defRPr sz="800">
                        <a:latin typeface="Nexa Book"/>
                      </a:defRPr>
                    </a:pPr>
                    <a:r>
                      <a:t>1646</a:t>
                    </a:r>
                  </a:p>
                </c:rich>
              </c:tx>
              <c:dLblPos val="ctr"/>
              <c:showLegendKey val="0"/>
              <c:showVal val="1"/>
              <c:showCatName val="0"/>
              <c:showSerName val="0"/>
              <c:showPercent val="0"/>
              <c:showBubbleSize val="0"/>
            </c:dLbl>
            <c:dLbl>
              <c:idx val="2"/>
              <c:tx>
                <c:rich>
                  <a:bodyPr/>
                  <a:lstStyle/>
                  <a:p>
                    <a:pPr>
                      <a:defRPr sz="800">
                        <a:latin typeface="Nexa Book"/>
                      </a:defRPr>
                    </a:pPr>
                    <a:r>
                      <a:t>613</a:t>
                    </a:r>
                  </a:p>
                </c:rich>
              </c:tx>
              <c:dLblPos val="ctr"/>
              <c:showLegendKey val="0"/>
              <c:showVal val="1"/>
              <c:showCatName val="0"/>
              <c:showSerName val="0"/>
              <c:showPercent val="0"/>
              <c:showBubbleSize val="0"/>
            </c:dLbl>
            <c:dLbl>
              <c:idx val="3"/>
              <c:tx>
                <c:rich>
                  <a:bodyPr/>
                  <a:lstStyle/>
                  <a:p>
                    <a:pPr>
                      <a:defRPr sz="800">
                        <a:latin typeface="Nexa Book"/>
                      </a:defRPr>
                    </a:pPr>
                    <a:r>
                      <a:t>29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255371581.0</c:v>
                </c:pt>
                <c:pt idx="1">
                  <c:v>164558286.0</c:v>
                </c:pt>
                <c:pt idx="2">
                  <c:v>61267196.0</c:v>
                </c:pt>
                <c:pt idx="3">
                  <c:v>29546099.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44</a:t>
                    </a:r>
                  </a:p>
                </c:rich>
              </c:tx>
              <c:dLblPos val="ctr"/>
              <c:showLegendKey val="0"/>
              <c:showVal val="1"/>
              <c:showCatName val="0"/>
              <c:showSerName val="0"/>
              <c:showPercent val="0"/>
              <c:showBubbleSize val="0"/>
            </c:dLbl>
            <c:dLbl>
              <c:idx val="1"/>
              <c:tx>
                <c:rich>
                  <a:bodyPr/>
                  <a:lstStyle/>
                  <a:p>
                    <a:pPr>
                      <a:defRPr sz="800">
                        <a:latin typeface="Nexa Book"/>
                      </a:defRPr>
                    </a:pPr>
                    <a:r>
                      <a:t>213</a:t>
                    </a:r>
                  </a:p>
                </c:rich>
              </c:tx>
              <c:dLblPos val="ctr"/>
              <c:showLegendKey val="0"/>
              <c:showVal val="1"/>
              <c:showCatName val="0"/>
              <c:showSerName val="0"/>
              <c:showPercent val="0"/>
              <c:showBubbleSize val="0"/>
            </c:dLbl>
            <c:dLbl>
              <c:idx val="2"/>
              <c:tx>
                <c:rich>
                  <a:bodyPr/>
                  <a:lstStyle/>
                  <a:p>
                    <a:pPr>
                      <a:defRPr sz="800">
                        <a:latin typeface="Nexa Book"/>
                      </a:defRPr>
                    </a:pPr>
                    <a:r>
                      <a:t>83</a:t>
                    </a:r>
                  </a:p>
                </c:rich>
              </c:tx>
              <c:dLblPos val="ctr"/>
              <c:showLegendKey val="0"/>
              <c:showVal val="1"/>
              <c:showCatName val="0"/>
              <c:showSerName val="0"/>
              <c:showPercent val="0"/>
              <c:showBubbleSize val="0"/>
            </c:dLbl>
            <c:dLbl>
              <c:idx val="3"/>
              <c:tx>
                <c:rich>
                  <a:bodyPr/>
                  <a:lstStyle/>
                  <a:p>
                    <a:pPr>
                      <a:defRPr sz="800">
                        <a:latin typeface="Nexa Book"/>
                      </a:defRPr>
                    </a:pPr>
                    <a:r>
                      <a:t>48</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4362469.0</c:v>
                </c:pt>
                <c:pt idx="1">
                  <c:v>21264734.0</c:v>
                </c:pt>
                <c:pt idx="2">
                  <c:v>8265975.0</c:v>
                </c:pt>
                <c:pt idx="3">
                  <c:v>483176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8976593341840764</c:v>
                </c:pt>
                <c:pt idx="2">
                  <c:v>0.02755166806656173</c:v>
                </c:pt>
                <c:pt idx="3">
                  <c:v>-0.0085750747247210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3 %</a:t>
                    </a:r>
                  </a:p>
                </c:rich>
              </c:tx>
              <c:dLblPos val="ctr"/>
              <c:showLegendKey val="0"/>
              <c:showVal val="1"/>
              <c:showCatName val="0"/>
              <c:showSerName val="0"/>
              <c:showPercent val="0"/>
              <c:showBubbleSize val="0"/>
            </c:dLbl>
            <c:dLbl>
              <c:idx val="2"/>
              <c:tx>
                <c:rich>
                  <a:bodyPr/>
                  <a:lstStyle/>
                  <a:p>
                    <a:pPr>
                      <a:defRPr sz="800">
                        <a:latin typeface="Nexa Book"/>
                      </a:defRPr>
                    </a:pPr>
                    <a:r>
                      <a:t>6.1 %</a:t>
                    </a:r>
                  </a:p>
                </c:rich>
              </c:tx>
              <c:dLblPos val="ctr"/>
              <c:showLegendKey val="0"/>
              <c:showVal val="1"/>
              <c:showCatName val="0"/>
              <c:showSerName val="0"/>
              <c:showPercent val="0"/>
              <c:showBubbleSize val="0"/>
            </c:dLbl>
            <c:dLbl>
              <c:idx val="3"/>
              <c:tx>
                <c:rich>
                  <a:bodyPr/>
                  <a:lstStyle/>
                  <a:p>
                    <a:pPr>
                      <a:defRPr sz="800">
                        <a:latin typeface="Nexa Book"/>
                      </a:defRPr>
                    </a:pPr>
                    <a:r>
                      <a:t>-0.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5339492639499965</c:v>
                </c:pt>
                <c:pt idx="2">
                  <c:v>0.060630123628607174</c:v>
                </c:pt>
                <c:pt idx="3">
                  <c:v>-0.0072351972336075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4 %</a:t>
                    </a:r>
                  </a:p>
                </c:rich>
              </c:tx>
              <c:dLblPos val="ctr"/>
              <c:showLegendKey val="0"/>
              <c:showVal val="1"/>
              <c:showCatName val="0"/>
              <c:showSerName val="0"/>
              <c:showPercent val="0"/>
              <c:showBubbleSize val="0"/>
            </c:dLbl>
            <c:dLbl>
              <c:idx val="2"/>
              <c:tx>
                <c:rich>
                  <a:bodyPr/>
                  <a:lstStyle/>
                  <a:p>
                    <a:pPr>
                      <a:defRPr sz="800">
                        <a:latin typeface="Nexa Book"/>
                      </a:defRPr>
                    </a:pPr>
                    <a:r>
                      <a:t>24.0 %</a:t>
                    </a:r>
                  </a:p>
                </c:rich>
              </c:tx>
              <c:dLblPos val="ctr"/>
              <c:showLegendKey val="0"/>
              <c:showVal val="1"/>
              <c:showCatName val="0"/>
              <c:showSerName val="0"/>
              <c:showPercent val="0"/>
              <c:showBubbleSize val="0"/>
            </c:dLbl>
            <c:dLbl>
              <c:idx val="3"/>
              <c:tx>
                <c:rich>
                  <a:bodyPr/>
                  <a:lstStyle/>
                  <a:p>
                    <a:pPr>
                      <a:defRPr sz="800">
                        <a:latin typeface="Nexa Book"/>
                      </a:defRPr>
                    </a:pPr>
                    <a:r>
                      <a:t>11.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443876227558775</c:v>
                </c:pt>
                <c:pt idx="2">
                  <c:v>0.2399139158714767</c:v>
                </c:pt>
                <c:pt idx="3">
                  <c:v>0.115698461372645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00.0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c:v>
                </c:pt>
                <c:pt idx="2">
                  <c:v>0.9999586699436809</c:v>
                </c:pt>
                <c:pt idx="3">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554</a:t>
                    </a:r>
                  </a:p>
                </c:rich>
              </c:tx>
              <c:dLblPos val="ctr"/>
              <c:showLegendKey val="0"/>
              <c:showVal val="1"/>
              <c:showCatName val="0"/>
              <c:showSerName val="0"/>
              <c:showPercent val="0"/>
              <c:showBubbleSize val="0"/>
            </c:dLbl>
            <c:dLbl>
              <c:idx val="1"/>
              <c:tx>
                <c:rich>
                  <a:bodyPr/>
                  <a:lstStyle/>
                  <a:p>
                    <a:pPr>
                      <a:defRPr sz="800">
                        <a:latin typeface="Nexa Book"/>
                      </a:defRPr>
                    </a:pPr>
                    <a:r>
                      <a:t>1646</a:t>
                    </a:r>
                  </a:p>
                </c:rich>
              </c:tx>
              <c:dLblPos val="ctr"/>
              <c:showLegendKey val="0"/>
              <c:showVal val="1"/>
              <c:showCatName val="0"/>
              <c:showSerName val="0"/>
              <c:showPercent val="0"/>
              <c:showBubbleSize val="0"/>
            </c:dLbl>
            <c:dLbl>
              <c:idx val="2"/>
              <c:tx>
                <c:rich>
                  <a:bodyPr/>
                  <a:lstStyle/>
                  <a:p>
                    <a:pPr>
                      <a:defRPr sz="800">
                        <a:latin typeface="Nexa Book"/>
                      </a:defRPr>
                    </a:pPr>
                    <a:r>
                      <a:t>613</a:t>
                    </a:r>
                  </a:p>
                </c:rich>
              </c:tx>
              <c:dLblPos val="ctr"/>
              <c:showLegendKey val="0"/>
              <c:showVal val="1"/>
              <c:showCatName val="0"/>
              <c:showSerName val="0"/>
              <c:showPercent val="0"/>
              <c:showBubbleSize val="0"/>
            </c:dLbl>
            <c:dLbl>
              <c:idx val="3"/>
              <c:tx>
                <c:rich>
                  <a:bodyPr/>
                  <a:lstStyle/>
                  <a:p>
                    <a:pPr>
                      <a:defRPr sz="800">
                        <a:latin typeface="Nexa Book"/>
                      </a:defRPr>
                    </a:pPr>
                    <a:r>
                      <a:t>29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255371581.0</c:v>
                </c:pt>
                <c:pt idx="1">
                  <c:v>164558286.0</c:v>
                </c:pt>
                <c:pt idx="2">
                  <c:v>61267196.0</c:v>
                </c:pt>
                <c:pt idx="3">
                  <c:v>29546099.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4</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r>
                      <a:t>54</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5443980.0</c:v>
                </c:pt>
                <c:pt idx="1">
                  <c:v>69.0</c:v>
                </c:pt>
                <c:pt idx="2">
                  <c:v>5443755.0</c:v>
                </c:pt>
                <c:pt idx="3">
                  <c:v>15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8976593341840764</c:v>
                </c:pt>
                <c:pt idx="2">
                  <c:v>0.02755166806656173</c:v>
                </c:pt>
                <c:pt idx="3">
                  <c:v>-0.0085750747247210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0.0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c:v>
                </c:pt>
                <c:pt idx="2">
                  <c:v>0.00014161971647574934</c:v>
                </c:pt>
                <c:pt idx="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6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5.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658146586782209</c:v>
                </c:pt>
                <c:pt idx="2">
                  <c:v>0.1811093452117946</c:v>
                </c:pt>
                <c:pt idx="3">
                  <c:v>0.153075996109984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6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5.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658146586782209</c:v>
                </c:pt>
                <c:pt idx="2">
                  <c:v>0.1811093452117946</c:v>
                </c:pt>
                <c:pt idx="3">
                  <c:v>0.153075996109984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68</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191219.0</c:v>
                </c:pt>
                <c:pt idx="1">
                  <c:v>6785463.0</c:v>
                </c:pt>
                <c:pt idx="2">
                  <c:v>1845725.0</c:v>
                </c:pt>
                <c:pt idx="3">
                  <c:v>156003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68</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191219.0</c:v>
                </c:pt>
                <c:pt idx="1">
                  <c:v>6785463.0</c:v>
                </c:pt>
                <c:pt idx="2">
                  <c:v>1845725.0</c:v>
                </c:pt>
                <c:pt idx="3">
                  <c:v>156003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6092090258859262</c:v>
                </c:pt>
                <c:pt idx="2">
                  <c:v>-0.007114332607208618</c:v>
                </c:pt>
                <c:pt idx="3">
                  <c:v>0.01320642286606785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6092603036267019</c:v>
                </c:pt>
                <c:pt idx="2">
                  <c:v>-0.007113713085885459</c:v>
                </c:pt>
                <c:pt idx="3">
                  <c:v>0.01320631612215242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5.4 %</a:t>
                    </a:r>
                  </a:p>
                </c:rich>
              </c:tx>
              <c:dLblPos val="ctr"/>
              <c:showLegendKey val="0"/>
              <c:showVal val="1"/>
              <c:showCatName val="0"/>
              <c:showSerName val="0"/>
              <c:showPercent val="0"/>
              <c:showBubbleSize val="0"/>
            </c:dLbl>
            <c:dLbl>
              <c:idx val="2"/>
              <c:tx>
                <c:rich>
                  <a:bodyPr/>
                  <a:lstStyle/>
                  <a:p>
                    <a:pPr>
                      <a:defRPr sz="800">
                        <a:latin typeface="Nexa Book"/>
                      </a:defRPr>
                    </a:pPr>
                    <a:r>
                      <a:t>20.5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54452240470658</c:v>
                </c:pt>
                <c:pt idx="2">
                  <c:v>0.2049990667697724</c:v>
                </c:pt>
                <c:pt idx="3">
                  <c:v>0.140548692759569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9.3 %</a:t>
                    </a:r>
                  </a:p>
                </c:rich>
              </c:tx>
              <c:dLblPos val="ctr"/>
              <c:showLegendKey val="0"/>
              <c:showVal val="1"/>
              <c:showCatName val="0"/>
              <c:showSerName val="0"/>
              <c:showPercent val="0"/>
              <c:showBubbleSize val="0"/>
            </c:dLbl>
            <c:dLbl>
              <c:idx val="2"/>
              <c:tx>
                <c:rich>
                  <a:bodyPr/>
                  <a:lstStyle/>
                  <a:p>
                    <a:pPr>
                      <a:defRPr sz="800">
                        <a:latin typeface="Nexa Book"/>
                      </a:defRPr>
                    </a:pPr>
                    <a:r>
                      <a:t>17.4 %</a:t>
                    </a:r>
                  </a:p>
                </c:rich>
              </c:tx>
              <c:dLblPos val="ctr"/>
              <c:showLegendKey val="0"/>
              <c:showVal val="1"/>
              <c:showCatName val="0"/>
              <c:showSerName val="0"/>
              <c:showPercent val="0"/>
              <c:showBubbleSize val="0"/>
            </c:dLbl>
            <c:dLbl>
              <c:idx val="3"/>
              <c:tx>
                <c:rich>
                  <a:bodyPr/>
                  <a:lstStyle/>
                  <a:p>
                    <a:pPr>
                      <a:defRPr sz="800">
                        <a:latin typeface="Nexa Book"/>
                      </a:defRPr>
                    </a:pPr>
                    <a:r>
                      <a:t>2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928380704961584</c:v>
                </c:pt>
                <c:pt idx="2">
                  <c:v>0.17441802894237887</c:v>
                </c:pt>
                <c:pt idx="3">
                  <c:v>0.2327439005614626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810</a:t>
                    </a:r>
                  </a:p>
                </c:rich>
              </c:tx>
              <c:dLblPos val="ctr"/>
              <c:showLegendKey val="0"/>
              <c:showVal val="1"/>
              <c:showCatName val="0"/>
              <c:showSerName val="0"/>
              <c:showPercent val="0"/>
              <c:showBubbleSize val="0"/>
            </c:dLbl>
            <c:dLbl>
              <c:idx val="1"/>
              <c:tx>
                <c:rich>
                  <a:bodyPr/>
                  <a:lstStyle/>
                  <a:p>
                    <a:pPr>
                      <a:defRPr sz="800">
                        <a:latin typeface="Nexa Book"/>
                      </a:defRPr>
                    </a:pPr>
                    <a:r>
                      <a:t>2493</a:t>
                    </a:r>
                  </a:p>
                </c:rich>
              </c:tx>
              <c:dLblPos val="ctr"/>
              <c:showLegendKey val="0"/>
              <c:showVal val="1"/>
              <c:showCatName val="0"/>
              <c:showSerName val="0"/>
              <c:showPercent val="0"/>
              <c:showBubbleSize val="0"/>
            </c:dLbl>
            <c:dLbl>
              <c:idx val="2"/>
              <c:tx>
                <c:rich>
                  <a:bodyPr/>
                  <a:lstStyle/>
                  <a:p>
                    <a:pPr>
                      <a:defRPr sz="800">
                        <a:latin typeface="Nexa Book"/>
                      </a:defRPr>
                    </a:pPr>
                    <a:r>
                      <a:t>781</a:t>
                    </a:r>
                  </a:p>
                </c:rich>
              </c:tx>
              <c:dLblPos val="ctr"/>
              <c:showLegendKey val="0"/>
              <c:showVal val="1"/>
              <c:showCatName val="0"/>
              <c:showSerName val="0"/>
              <c:showPercent val="0"/>
              <c:showBubbleSize val="0"/>
            </c:dLbl>
            <c:dLbl>
              <c:idx val="3"/>
              <c:tx>
                <c:rich>
                  <a:bodyPr/>
                  <a:lstStyle/>
                  <a:p>
                    <a:pPr>
                      <a:defRPr sz="800">
                        <a:latin typeface="Nexa Book"/>
                      </a:defRPr>
                    </a:pPr>
                    <a:r>
                      <a:t>53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80999232.0</c:v>
                </c:pt>
                <c:pt idx="1">
                  <c:v>249345801.0</c:v>
                </c:pt>
                <c:pt idx="2">
                  <c:v>78104487.0</c:v>
                </c:pt>
                <c:pt idx="3">
                  <c:v>53548944.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15</a:t>
                    </a:r>
                  </a:p>
                </c:rich>
              </c:tx>
              <c:dLblPos val="ctr"/>
              <c:showLegendKey val="0"/>
              <c:showVal val="1"/>
              <c:showCatName val="0"/>
              <c:showSerName val="0"/>
              <c:showPercent val="0"/>
              <c:showBubbleSize val="0"/>
            </c:dLbl>
            <c:dLbl>
              <c:idx val="1"/>
              <c:tx>
                <c:rich>
                  <a:bodyPr/>
                  <a:lstStyle/>
                  <a:p>
                    <a:pPr>
                      <a:defRPr sz="800">
                        <a:latin typeface="Nexa Book"/>
                      </a:defRPr>
                    </a:pPr>
                    <a:r>
                      <a:t>365</a:t>
                    </a:r>
                  </a:p>
                </c:rich>
              </c:tx>
              <c:dLblPos val="ctr"/>
              <c:showLegendKey val="0"/>
              <c:showVal val="1"/>
              <c:showCatName val="0"/>
              <c:showSerName val="0"/>
              <c:showPercent val="0"/>
              <c:showBubbleSize val="0"/>
            </c:dLbl>
            <c:dLbl>
              <c:idx val="2"/>
              <c:tx>
                <c:rich>
                  <a:bodyPr/>
                  <a:lstStyle/>
                  <a:p>
                    <a:pPr>
                      <a:defRPr sz="800">
                        <a:latin typeface="Nexa Book"/>
                      </a:defRPr>
                    </a:pPr>
                    <a:r>
                      <a:t>107</a:t>
                    </a:r>
                  </a:p>
                </c:rich>
              </c:tx>
              <c:dLblPos val="ctr"/>
              <c:showLegendKey val="0"/>
              <c:showVal val="1"/>
              <c:showCatName val="0"/>
              <c:showSerName val="0"/>
              <c:showPercent val="0"/>
              <c:showBubbleSize val="0"/>
            </c:dLbl>
            <c:dLbl>
              <c:idx val="3"/>
              <c:tx>
                <c:rich>
                  <a:bodyPr/>
                  <a:lstStyle/>
                  <a:p>
                    <a:pPr>
                      <a:defRPr sz="800">
                        <a:latin typeface="Nexa Book"/>
                      </a:defRPr>
                    </a:pPr>
                    <a:r>
                      <a:t>1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1541935.0</c:v>
                </c:pt>
                <c:pt idx="1">
                  <c:v>36484402.0</c:v>
                </c:pt>
                <c:pt idx="2">
                  <c:v>10734023.0</c:v>
                </c:pt>
                <c:pt idx="3">
                  <c:v>1432351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1.4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4472487180240523</c:v>
                </c:pt>
                <c:pt idx="2">
                  <c:v>0.028378892572856085</c:v>
                </c:pt>
                <c:pt idx="3">
                  <c:v>-0.0139064053926155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2 %</a:t>
                    </a:r>
                  </a:p>
                </c:rich>
              </c:tx>
              <c:dLblPos val="ctr"/>
              <c:showLegendKey val="0"/>
              <c:showVal val="1"/>
              <c:showCatName val="0"/>
              <c:showSerName val="0"/>
              <c:showPercent val="0"/>
              <c:showBubbleSize val="0"/>
            </c:dLbl>
            <c:dLbl>
              <c:idx val="2"/>
              <c:tx>
                <c:rich>
                  <a:bodyPr/>
                  <a:lstStyle/>
                  <a:p>
                    <a:pPr>
                      <a:defRPr sz="800">
                        <a:latin typeface="Nexa Book"/>
                      </a:defRPr>
                    </a:pPr>
                    <a:r>
                      <a:t>7.0 %</a:t>
                    </a:r>
                  </a:p>
                </c:rich>
              </c:tx>
              <c:dLblPos val="ctr"/>
              <c:showLegendKey val="0"/>
              <c:showVal val="1"/>
              <c:showCatName val="0"/>
              <c:showSerName val="0"/>
              <c:showPercent val="0"/>
              <c:showBubbleSize val="0"/>
            </c:dLbl>
            <c:dLbl>
              <c:idx val="3"/>
              <c:tx>
                <c:rich>
                  <a:bodyPr/>
                  <a:lstStyle/>
                  <a:p>
                    <a:pPr>
                      <a:defRPr sz="800">
                        <a:latin typeface="Nexa Book"/>
                      </a:defRPr>
                    </a:pPr>
                    <a:r>
                      <a:t>-1.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5206351429045031</c:v>
                </c:pt>
                <c:pt idx="2">
                  <c:v>0.06987220775155832</c:v>
                </c:pt>
                <c:pt idx="3">
                  <c:v>-0.01780869346110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4 %</a:t>
                    </a:r>
                  </a:p>
                </c:rich>
              </c:tx>
              <c:dLblPos val="ctr"/>
              <c:showLegendKey val="0"/>
              <c:showVal val="1"/>
              <c:showCatName val="0"/>
              <c:showSerName val="0"/>
              <c:showPercent val="0"/>
              <c:showBubbleSize val="0"/>
            </c:dLbl>
            <c:dLbl>
              <c:idx val="2"/>
              <c:tx>
                <c:rich>
                  <a:bodyPr/>
                  <a:lstStyle/>
                  <a:p>
                    <a:pPr>
                      <a:defRPr sz="800">
                        <a:latin typeface="Nexa Book"/>
                      </a:defRPr>
                    </a:pPr>
                    <a:r>
                      <a:t>29.9 %</a:t>
                    </a:r>
                  </a:p>
                </c:rich>
              </c:tx>
              <c:dLblPos val="ctr"/>
              <c:showLegendKey val="0"/>
              <c:showVal val="1"/>
              <c:showCatName val="0"/>
              <c:showSerName val="0"/>
              <c:showPercent val="0"/>
              <c:showBubbleSize val="0"/>
            </c:dLbl>
            <c:dLbl>
              <c:idx val="3"/>
              <c:tx>
                <c:rich>
                  <a:bodyPr/>
                  <a:lstStyle/>
                  <a:p>
                    <a:pPr>
                      <a:defRPr sz="800">
                        <a:latin typeface="Nexa Book"/>
                      </a:defRPr>
                    </a:pPr>
                    <a:r>
                      <a:t>9.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044303574289137</c:v>
                </c:pt>
                <c:pt idx="2">
                  <c:v>0.29918367211296776</c:v>
                </c:pt>
                <c:pt idx="3">
                  <c:v>0.096385970458118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29.3 %</a:t>
                    </a:r>
                  </a:p>
                </c:rich>
              </c:tx>
              <c:dLblPos val="ctr"/>
              <c:showLegendKey val="0"/>
              <c:showVal val="1"/>
              <c:showCatName val="0"/>
              <c:showSerName val="0"/>
              <c:showPercent val="0"/>
              <c:showBubbleSize val="0"/>
            </c:dLbl>
            <c:dLbl>
              <c:idx val="3"/>
              <c:tx>
                <c:rich>
                  <a:bodyPr/>
                  <a:lstStyle/>
                  <a:p>
                    <a:pPr>
                      <a:defRPr sz="800">
                        <a:latin typeface="Nexa Book"/>
                      </a:defRPr>
                    </a:pPr>
                    <a:r>
                      <a:t>70.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c:v>
                </c:pt>
                <c:pt idx="2">
                  <c:v>0.2926002839219598</c:v>
                </c:pt>
                <c:pt idx="3">
                  <c:v>0.70739971607804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665</a:t>
                    </a:r>
                  </a:p>
                </c:rich>
              </c:tx>
              <c:dLblPos val="ctr"/>
              <c:showLegendKey val="0"/>
              <c:showVal val="1"/>
              <c:showCatName val="0"/>
              <c:showSerName val="0"/>
              <c:showPercent val="0"/>
              <c:showBubbleSize val="0"/>
            </c:dLbl>
            <c:dLbl>
              <c:idx val="1"/>
              <c:tx>
                <c:rich>
                  <a:bodyPr/>
                  <a:lstStyle/>
                  <a:p>
                    <a:pPr>
                      <a:defRPr sz="800">
                        <a:latin typeface="Nexa Book"/>
                      </a:defRPr>
                    </a:pPr>
                    <a:r>
                      <a:t>402</a:t>
                    </a:r>
                  </a:p>
                </c:rich>
              </c:tx>
              <c:dLblPos val="ctr"/>
              <c:showLegendKey val="0"/>
              <c:showVal val="1"/>
              <c:showCatName val="0"/>
              <c:showSerName val="0"/>
              <c:showPercent val="0"/>
              <c:showBubbleSize val="0"/>
            </c:dLbl>
            <c:dLbl>
              <c:idx val="2"/>
              <c:tx>
                <c:rich>
                  <a:bodyPr/>
                  <a:lstStyle/>
                  <a:p>
                    <a:pPr>
                      <a:defRPr sz="800">
                        <a:latin typeface="Nexa Book"/>
                      </a:defRPr>
                    </a:pPr>
                    <a:r>
                      <a:t>199</a:t>
                    </a:r>
                  </a:p>
                </c:rich>
              </c:tx>
              <c:dLblPos val="ctr"/>
              <c:showLegendKey val="0"/>
              <c:showVal val="1"/>
              <c:showCatName val="0"/>
              <c:showSerName val="0"/>
              <c:showPercent val="0"/>
              <c:showBubbleSize val="0"/>
            </c:dLbl>
            <c:dLbl>
              <c:idx val="3"/>
              <c:tx>
                <c:rich>
                  <a:bodyPr/>
                  <a:lstStyle/>
                  <a:p>
                    <a:pPr>
                      <a:defRPr sz="800">
                        <a:latin typeface="Nexa Book"/>
                      </a:defRPr>
                    </a:pPr>
                    <a:r>
                      <a:t>6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6501587.0</c:v>
                </c:pt>
                <c:pt idx="1">
                  <c:v>40195578.0</c:v>
                </c:pt>
                <c:pt idx="2">
                  <c:v>19896189.0</c:v>
                </c:pt>
                <c:pt idx="3">
                  <c:v>640982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4</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417016.0</c:v>
                </c:pt>
                <c:pt idx="1">
                  <c:v>0.0</c:v>
                </c:pt>
                <c:pt idx="2">
                  <c:v>122019.0</c:v>
                </c:pt>
                <c:pt idx="3">
                  <c:v>29499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0 %</a:t>
                    </a:r>
                  </a:p>
                </c:rich>
              </c:tx>
              <c:dLblPos val="ctr"/>
              <c:showLegendKey val="0"/>
              <c:showVal val="1"/>
              <c:showCatName val="0"/>
              <c:showSerName val="0"/>
              <c:showPercent val="0"/>
              <c:showBubbleSize val="0"/>
            </c:dLbl>
            <c:dLbl>
              <c:idx val="2"/>
              <c:tx>
                <c:rich>
                  <a:bodyPr/>
                  <a:lstStyle/>
                  <a:p>
                    <a:pPr>
                      <a:defRPr sz="800">
                        <a:latin typeface="Nexa Book"/>
                      </a:defRPr>
                    </a:pPr>
                    <a:r>
                      <a:t>-2.6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2950491062718863</c:v>
                </c:pt>
                <c:pt idx="2">
                  <c:v>-0.025838984686048894</c:v>
                </c:pt>
                <c:pt idx="3">
                  <c:v>-0.00366592594113970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70.7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c:v>
                </c:pt>
                <c:pt idx="2">
                  <c:v>-0.7073997160780402</c:v>
                </c:pt>
                <c:pt idx="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6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5.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658146586782209</c:v>
                </c:pt>
                <c:pt idx="2">
                  <c:v>0.1811093452117946</c:v>
                </c:pt>
                <c:pt idx="3">
                  <c:v>0.153075996109984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6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5.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658146586782209</c:v>
                </c:pt>
                <c:pt idx="2">
                  <c:v>0.1811093452117946</c:v>
                </c:pt>
                <c:pt idx="3">
                  <c:v>0.153075996109984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68</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191219.0</c:v>
                </c:pt>
                <c:pt idx="1">
                  <c:v>6785463.0</c:v>
                </c:pt>
                <c:pt idx="2">
                  <c:v>1845725.0</c:v>
                </c:pt>
                <c:pt idx="3">
                  <c:v>156003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68</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191219.0</c:v>
                </c:pt>
                <c:pt idx="1">
                  <c:v>6785463.0</c:v>
                </c:pt>
                <c:pt idx="2">
                  <c:v>1845725.0</c:v>
                </c:pt>
                <c:pt idx="3">
                  <c:v>156003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6092090258859262</c:v>
                </c:pt>
                <c:pt idx="2">
                  <c:v>-0.007114332607208618</c:v>
                </c:pt>
                <c:pt idx="3">
                  <c:v>0.01320642286606785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6092603036267019</c:v>
                </c:pt>
                <c:pt idx="2">
                  <c:v>-0.007113713085885459</c:v>
                </c:pt>
                <c:pt idx="3">
                  <c:v>0.01320631612215242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5.4 %</a:t>
                    </a:r>
                  </a:p>
                </c:rich>
              </c:tx>
              <c:dLblPos val="ctr"/>
              <c:showLegendKey val="0"/>
              <c:showVal val="1"/>
              <c:showCatName val="0"/>
              <c:showSerName val="0"/>
              <c:showPercent val="0"/>
              <c:showBubbleSize val="0"/>
            </c:dLbl>
            <c:dLbl>
              <c:idx val="2"/>
              <c:tx>
                <c:rich>
                  <a:bodyPr/>
                  <a:lstStyle/>
                  <a:p>
                    <a:pPr>
                      <a:defRPr sz="800">
                        <a:latin typeface="Nexa Book"/>
                      </a:defRPr>
                    </a:pPr>
                    <a:r>
                      <a:t>20.5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54452240470658</c:v>
                </c:pt>
                <c:pt idx="2">
                  <c:v>0.2049990667697724</c:v>
                </c:pt>
                <c:pt idx="3">
                  <c:v>0.140548692759569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7.2 %</a:t>
                    </a:r>
                  </a:p>
                </c:rich>
              </c:tx>
              <c:dLblPos val="ctr"/>
              <c:showLegendKey val="0"/>
              <c:showVal val="1"/>
              <c:showCatName val="0"/>
              <c:showSerName val="0"/>
              <c:showPercent val="0"/>
              <c:showBubbleSize val="0"/>
            </c:dLbl>
            <c:dLbl>
              <c:idx val="2"/>
              <c:tx>
                <c:rich>
                  <a:bodyPr/>
                  <a:lstStyle/>
                  <a:p>
                    <a:pPr>
                      <a:defRPr sz="800">
                        <a:latin typeface="Nexa Book"/>
                      </a:defRPr>
                    </a:pPr>
                    <a:r>
                      <a:t>3.6 %</a:t>
                    </a:r>
                  </a:p>
                </c:rich>
              </c:tx>
              <c:dLblPos val="ctr"/>
              <c:showLegendKey val="0"/>
              <c:showVal val="1"/>
              <c:showCatName val="0"/>
              <c:showSerName val="0"/>
              <c:showPercent val="0"/>
              <c:showBubbleSize val="0"/>
            </c:dLbl>
            <c:dLbl>
              <c:idx val="3"/>
              <c:tx>
                <c:rich>
                  <a:bodyPr/>
                  <a:lstStyle/>
                  <a:p>
                    <a:pPr>
                      <a:defRPr sz="800">
                        <a:latin typeface="Nexa Book"/>
                      </a:defRPr>
                    </a:pPr>
                    <a:r>
                      <a:t>79.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1716345030964164</c:v>
                </c:pt>
                <c:pt idx="2">
                  <c:v>0.03649840600219219</c:v>
                </c:pt>
                <c:pt idx="3">
                  <c:v>0.79186709090139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810</a:t>
                    </a:r>
                  </a:p>
                </c:rich>
              </c:tx>
              <c:dLblPos val="ctr"/>
              <c:showLegendKey val="0"/>
              <c:showVal val="1"/>
              <c:showCatName val="0"/>
              <c:showSerName val="0"/>
              <c:showPercent val="0"/>
              <c:showBubbleSize val="0"/>
            </c:dLbl>
            <c:dLbl>
              <c:idx val="1"/>
              <c:tx>
                <c:rich>
                  <a:bodyPr/>
                  <a:lstStyle/>
                  <a:p>
                    <a:pPr>
                      <a:defRPr sz="800">
                        <a:latin typeface="Nexa Book"/>
                      </a:defRPr>
                    </a:pPr>
                    <a:r>
                      <a:t>2493</a:t>
                    </a:r>
                  </a:p>
                </c:rich>
              </c:tx>
              <c:dLblPos val="ctr"/>
              <c:showLegendKey val="0"/>
              <c:showVal val="1"/>
              <c:showCatName val="0"/>
              <c:showSerName val="0"/>
              <c:showPercent val="0"/>
              <c:showBubbleSize val="0"/>
            </c:dLbl>
            <c:dLbl>
              <c:idx val="2"/>
              <c:tx>
                <c:rich>
                  <a:bodyPr/>
                  <a:lstStyle/>
                  <a:p>
                    <a:pPr>
                      <a:defRPr sz="800">
                        <a:latin typeface="Nexa Book"/>
                      </a:defRPr>
                    </a:pPr>
                    <a:r>
                      <a:t>781</a:t>
                    </a:r>
                  </a:p>
                </c:rich>
              </c:tx>
              <c:dLblPos val="ctr"/>
              <c:showLegendKey val="0"/>
              <c:showVal val="1"/>
              <c:showCatName val="0"/>
              <c:showSerName val="0"/>
              <c:showPercent val="0"/>
              <c:showBubbleSize val="0"/>
            </c:dLbl>
            <c:dLbl>
              <c:idx val="3"/>
              <c:tx>
                <c:rich>
                  <a:bodyPr/>
                  <a:lstStyle/>
                  <a:p>
                    <a:pPr>
                      <a:defRPr sz="800">
                        <a:latin typeface="Nexa Book"/>
                      </a:defRPr>
                    </a:pPr>
                    <a:r>
                      <a:t>53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80999232.0</c:v>
                </c:pt>
                <c:pt idx="1">
                  <c:v>249345801.0</c:v>
                </c:pt>
                <c:pt idx="2">
                  <c:v>78104487.0</c:v>
                </c:pt>
                <c:pt idx="3">
                  <c:v>53548944.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8</a:t>
                    </a:r>
                  </a:p>
                </c:rich>
              </c:tx>
              <c:dLblPos val="ctr"/>
              <c:showLegendKey val="0"/>
              <c:showVal val="1"/>
              <c:showCatName val="0"/>
              <c:showSerName val="0"/>
              <c:showPercent val="0"/>
              <c:showBubbleSize val="0"/>
            </c:dLbl>
            <c:dLbl>
              <c:idx val="1"/>
              <c:tx>
                <c:rich>
                  <a:bodyPr/>
                  <a:lstStyle/>
                  <a:p>
                    <a:pPr>
                      <a:defRPr sz="800">
                        <a:latin typeface="Nexa Book"/>
                      </a:defRPr>
                    </a:pPr>
                    <a:r>
                      <a:t>7</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3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849127.0</c:v>
                </c:pt>
                <c:pt idx="1">
                  <c:v>660643.0</c:v>
                </c:pt>
                <c:pt idx="2">
                  <c:v>140487.0</c:v>
                </c:pt>
                <c:pt idx="3">
                  <c:v>304799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1.4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4472487180240523</c:v>
                </c:pt>
                <c:pt idx="2">
                  <c:v>0.028378892572856085</c:v>
                </c:pt>
                <c:pt idx="3">
                  <c:v>-0.0139064053926155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5.8 %</a:t>
                    </a:r>
                  </a:p>
                </c:rich>
              </c:tx>
              <c:dLblPos val="ctr"/>
              <c:showLegendKey val="0"/>
              <c:showVal val="1"/>
              <c:showCatName val="0"/>
              <c:showSerName val="0"/>
              <c:showPercent val="0"/>
              <c:showBubbleSize val="0"/>
            </c:dLbl>
            <c:dLbl>
              <c:idx val="2"/>
              <c:tx>
                <c:rich>
                  <a:bodyPr/>
                  <a:lstStyle/>
                  <a:p>
                    <a:pPr>
                      <a:defRPr sz="800">
                        <a:latin typeface="Nexa Book"/>
                      </a:defRPr>
                    </a:pPr>
                    <a:r>
                      <a:t>1.8 %</a:t>
                    </a:r>
                  </a:p>
                </c:rich>
              </c:tx>
              <c:dLblPos val="ctr"/>
              <c:showLegendKey val="0"/>
              <c:showVal val="1"/>
              <c:showCatName val="0"/>
              <c:showSerName val="0"/>
              <c:showPercent val="0"/>
              <c:showBubbleSize val="0"/>
            </c:dLbl>
            <c:dLbl>
              <c:idx val="3"/>
              <c:tx>
                <c:rich>
                  <a:bodyPr/>
                  <a:lstStyle/>
                  <a:p>
                    <a:pPr>
                      <a:defRPr sz="800">
                        <a:latin typeface="Nexa Book"/>
                      </a:defRPr>
                    </a:pPr>
                    <a:r>
                      <a:t>13.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15762091563047462</c:v>
                </c:pt>
                <c:pt idx="2">
                  <c:v>0.01827489886866313</c:v>
                </c:pt>
                <c:pt idx="3">
                  <c:v>0.139346016761811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4 %</a:t>
                    </a:r>
                  </a:p>
                </c:rich>
              </c:tx>
              <c:dLblPos val="ctr"/>
              <c:showLegendKey val="0"/>
              <c:showVal val="1"/>
              <c:showCatName val="0"/>
              <c:showSerName val="0"/>
              <c:showPercent val="0"/>
              <c:showBubbleSize val="0"/>
            </c:dLbl>
            <c:dLbl>
              <c:idx val="2"/>
              <c:tx>
                <c:rich>
                  <a:bodyPr/>
                  <a:lstStyle/>
                  <a:p>
                    <a:pPr>
                      <a:defRPr sz="800">
                        <a:latin typeface="Nexa Book"/>
                      </a:defRPr>
                    </a:pPr>
                    <a:r>
                      <a:t>29.9 %</a:t>
                    </a:r>
                  </a:p>
                </c:rich>
              </c:tx>
              <c:dLblPos val="ctr"/>
              <c:showLegendKey val="0"/>
              <c:showVal val="1"/>
              <c:showCatName val="0"/>
              <c:showSerName val="0"/>
              <c:showPercent val="0"/>
              <c:showBubbleSize val="0"/>
            </c:dLbl>
            <c:dLbl>
              <c:idx val="3"/>
              <c:tx>
                <c:rich>
                  <a:bodyPr/>
                  <a:lstStyle/>
                  <a:p>
                    <a:pPr>
                      <a:defRPr sz="800">
                        <a:latin typeface="Nexa Book"/>
                      </a:defRPr>
                    </a:pPr>
                    <a:r>
                      <a:t>9.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044303574289137</c:v>
                </c:pt>
                <c:pt idx="2">
                  <c:v>0.29918367211296776</c:v>
                </c:pt>
                <c:pt idx="3">
                  <c:v>0.096385970458118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00.0 %</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1.0</c:v>
                </c:pt>
                <c:pt idx="2">
                  <c:v>0.0</c:v>
                </c:pt>
                <c:pt idx="3">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665</a:t>
                    </a:r>
                  </a:p>
                </c:rich>
              </c:tx>
              <c:dLblPos val="ctr"/>
              <c:showLegendKey val="0"/>
              <c:showVal val="1"/>
              <c:showCatName val="0"/>
              <c:showSerName val="0"/>
              <c:showPercent val="0"/>
              <c:showBubbleSize val="0"/>
            </c:dLbl>
            <c:dLbl>
              <c:idx val="1"/>
              <c:tx>
                <c:rich>
                  <a:bodyPr/>
                  <a:lstStyle/>
                  <a:p>
                    <a:pPr>
                      <a:defRPr sz="800">
                        <a:latin typeface="Nexa Book"/>
                      </a:defRPr>
                    </a:pPr>
                    <a:r>
                      <a:t>402</a:t>
                    </a:r>
                  </a:p>
                </c:rich>
              </c:tx>
              <c:dLblPos val="ctr"/>
              <c:showLegendKey val="0"/>
              <c:showVal val="1"/>
              <c:showCatName val="0"/>
              <c:showSerName val="0"/>
              <c:showPercent val="0"/>
              <c:showBubbleSize val="0"/>
            </c:dLbl>
            <c:dLbl>
              <c:idx val="2"/>
              <c:tx>
                <c:rich>
                  <a:bodyPr/>
                  <a:lstStyle/>
                  <a:p>
                    <a:pPr>
                      <a:defRPr sz="800">
                        <a:latin typeface="Nexa Book"/>
                      </a:defRPr>
                    </a:pPr>
                    <a:r>
                      <a:t>199</a:t>
                    </a:r>
                  </a:p>
                </c:rich>
              </c:tx>
              <c:dLblPos val="ctr"/>
              <c:showLegendKey val="0"/>
              <c:showVal val="1"/>
              <c:showCatName val="0"/>
              <c:showSerName val="0"/>
              <c:showPercent val="0"/>
              <c:showBubbleSize val="0"/>
            </c:dLbl>
            <c:dLbl>
              <c:idx val="3"/>
              <c:tx>
                <c:rich>
                  <a:bodyPr/>
                  <a:lstStyle/>
                  <a:p>
                    <a:pPr>
                      <a:defRPr sz="800">
                        <a:latin typeface="Nexa Book"/>
                      </a:defRPr>
                    </a:pPr>
                    <a:r>
                      <a:t>6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6501587.0</c:v>
                </c:pt>
                <c:pt idx="1">
                  <c:v>40195578.0</c:v>
                </c:pt>
                <c:pt idx="2">
                  <c:v>19896189.0</c:v>
                </c:pt>
                <c:pt idx="3">
                  <c:v>640982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0</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6.0</c:v>
                </c:pt>
                <c:pt idx="1">
                  <c:v>16.0</c:v>
                </c:pt>
                <c:pt idx="2">
                  <c:v>0.0</c:v>
                </c:pt>
                <c:pt idx="3">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0 %</a:t>
                    </a:r>
                  </a:p>
                </c:rich>
              </c:tx>
              <c:dLblPos val="ctr"/>
              <c:showLegendKey val="0"/>
              <c:showVal val="1"/>
              <c:showCatName val="0"/>
              <c:showSerName val="0"/>
              <c:showPercent val="0"/>
              <c:showBubbleSize val="0"/>
            </c:dLbl>
            <c:dLbl>
              <c:idx val="2"/>
              <c:tx>
                <c:rich>
                  <a:bodyPr/>
                  <a:lstStyle/>
                  <a:p>
                    <a:pPr>
                      <a:defRPr sz="800">
                        <a:latin typeface="Nexa Book"/>
                      </a:defRPr>
                    </a:pPr>
                    <a:r>
                      <a:t>-2.6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2950491062718863</c:v>
                </c:pt>
                <c:pt idx="2">
                  <c:v>-0.025838984686048894</c:v>
                </c:pt>
                <c:pt idx="3">
                  <c:v>-0.00366592594113970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c:v>
                </c:pt>
                <c:pt idx="2">
                  <c:v>0.0</c:v>
                </c:pt>
                <c:pt idx="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2 %</a:t>
                    </a:r>
                  </a:p>
                </c:rich>
              </c:tx>
              <c:dLblPos val="ctr"/>
              <c:showLegendKey val="0"/>
              <c:showVal val="1"/>
              <c:showCatName val="0"/>
              <c:showSerName val="0"/>
              <c:showPercent val="0"/>
              <c:showBubbleSize val="0"/>
            </c:dLbl>
            <c:dLbl>
              <c:idx val="2"/>
              <c:tx>
                <c:rich>
                  <a:bodyPr/>
                  <a:lstStyle/>
                  <a:p>
                    <a:pPr>
                      <a:defRPr sz="800">
                        <a:latin typeface="Nexa Book"/>
                      </a:defRPr>
                    </a:pPr>
                    <a:r>
                      <a:t>15.5 %</a:t>
                    </a:r>
                  </a:p>
                </c:rich>
              </c:tx>
              <c:dLblPos val="ctr"/>
              <c:showLegendKey val="0"/>
              <c:showVal val="1"/>
              <c:showCatName val="0"/>
              <c:showSerName val="0"/>
              <c:showPercent val="0"/>
              <c:showBubbleSize val="0"/>
            </c:dLbl>
            <c:dLbl>
              <c:idx val="3"/>
              <c:tx>
                <c:rich>
                  <a:bodyPr/>
                  <a:lstStyle/>
                  <a:p>
                    <a:pPr>
                      <a:defRPr sz="800">
                        <a:latin typeface="Nexa Book"/>
                      </a:defRPr>
                    </a:pPr>
                    <a:r>
                      <a:t>14.0 %</a:t>
                    </a:r>
                  </a:p>
                </c:rich>
              </c:tx>
              <c:dLblPos val="ctr"/>
              <c:showLegendKey val="0"/>
              <c:showVal val="1"/>
              <c:showCatName val="0"/>
              <c:showSerName val="0"/>
              <c:showPercent val="0"/>
              <c:showBubbleSize val="0"/>
            </c:dLbl>
            <c:dLbl>
              <c:idx val="4"/>
              <c:tx>
                <c:rich>
                  <a:bodyPr/>
                  <a:lstStyle/>
                  <a:p>
                    <a:pPr>
                      <a:defRPr sz="800">
                        <a:latin typeface="Nexa Book"/>
                      </a:defRPr>
                    </a:pPr>
                    <a:r>
                      <a:t>8.2 %</a:t>
                    </a:r>
                  </a:p>
                </c:rich>
              </c:tx>
              <c:dLblPos val="ctr"/>
              <c:showLegendKey val="0"/>
              <c:showVal val="1"/>
              <c:showCatName val="0"/>
              <c:showSerName val="0"/>
              <c:showPercent val="0"/>
              <c:showBubbleSize val="0"/>
            </c:dLbl>
            <c:dLbl>
              <c:idx val="5"/>
              <c:tx>
                <c:rich>
                  <a:bodyPr/>
                  <a:lstStyle/>
                  <a:p>
                    <a:pPr>
                      <a:defRPr sz="800">
                        <a:latin typeface="Nexa Book"/>
                      </a:defRPr>
                    </a:pPr>
                    <a:r>
                      <a:t>5.2 %</a:t>
                    </a:r>
                  </a:p>
                </c:rich>
              </c:tx>
              <c:dLblPos val="ctr"/>
              <c:showLegendKey val="0"/>
              <c:showVal val="1"/>
              <c:showCatName val="0"/>
              <c:showSerName val="0"/>
              <c:showPercent val="0"/>
              <c:showBubbleSize val="0"/>
            </c:dLbl>
            <c:dLbl>
              <c:idx val="6"/>
              <c:tx>
                <c:rich>
                  <a:bodyPr/>
                  <a:lstStyle/>
                  <a:p>
                    <a:pPr>
                      <a:defRPr sz="800">
                        <a:latin typeface="Nexa Book"/>
                      </a:defRPr>
                    </a:pPr>
                    <a:r>
                      <a:t>3.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5415665193616893</c:v>
                </c:pt>
                <c:pt idx="2">
                  <c:v>0.15475036857345298</c:v>
                </c:pt>
                <c:pt idx="3">
                  <c:v>0.14013860878254794</c:v>
                </c:pt>
                <c:pt idx="4">
                  <c:v>0.08180372930989686</c:v>
                </c:pt>
                <c:pt idx="5">
                  <c:v>0.05208503486625859</c:v>
                </c:pt>
                <c:pt idx="6">
                  <c:v>0.02965573910615433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3.9 %</a:t>
                    </a:r>
                  </a:p>
                </c:rich>
              </c:tx>
              <c:dLblPos val="ctr"/>
              <c:showLegendKey val="0"/>
              <c:showVal val="1"/>
              <c:showCatName val="0"/>
              <c:showSerName val="0"/>
              <c:showPercent val="0"/>
              <c:showBubbleSize val="0"/>
            </c:dLbl>
            <c:dLbl>
              <c:idx val="2"/>
              <c:tx>
                <c:rich>
                  <a:bodyPr/>
                  <a:lstStyle/>
                  <a:p>
                    <a:pPr>
                      <a:defRPr sz="800">
                        <a:latin typeface="Nexa Book"/>
                      </a:defRPr>
                    </a:pPr>
                    <a:r>
                      <a:t>0.5 %</a:t>
                    </a:r>
                  </a:p>
                </c:rich>
              </c:tx>
              <c:dLblPos val="ctr"/>
              <c:showLegendKey val="0"/>
              <c:showVal val="1"/>
              <c:showCatName val="0"/>
              <c:showSerName val="0"/>
              <c:showPercent val="0"/>
              <c:showBubbleSize val="0"/>
            </c:dLbl>
            <c:dLbl>
              <c:idx val="3"/>
              <c:tx>
                <c:rich>
                  <a:bodyPr/>
                  <a:lstStyle/>
                  <a:p>
                    <a:pPr>
                      <a:defRPr sz="800">
                        <a:latin typeface="Nexa Book"/>
                      </a:defRPr>
                    </a:pPr>
                    <a:r>
                      <a:t>43.7 %</a:t>
                    </a:r>
                  </a:p>
                </c:rich>
              </c:tx>
              <c:dLblPos val="ctr"/>
              <c:showLegendKey val="0"/>
              <c:showVal val="1"/>
              <c:showCatName val="0"/>
              <c:showSerName val="0"/>
              <c:showPercent val="0"/>
              <c:showBubbleSize val="0"/>
            </c:dLbl>
            <c:dLbl>
              <c:idx val="4"/>
              <c:tx>
                <c:rich>
                  <a:bodyPr/>
                  <a:lstStyle/>
                  <a:p>
                    <a:pPr>
                      <a:defRPr sz="800">
                        <a:latin typeface="Nexa Book"/>
                      </a:defRPr>
                    </a:pPr>
                    <a:r>
                      <a:t>7.6 %</a:t>
                    </a:r>
                  </a:p>
                </c:rich>
              </c:tx>
              <c:dLblPos val="ctr"/>
              <c:showLegendKey val="0"/>
              <c:showVal val="1"/>
              <c:showCatName val="0"/>
              <c:showSerName val="0"/>
              <c:showPercent val="0"/>
              <c:showBubbleSize val="0"/>
            </c:dLbl>
            <c:dLbl>
              <c:idx val="5"/>
              <c:tx>
                <c:rich>
                  <a:bodyPr/>
                  <a:lstStyle/>
                  <a:p>
                    <a:pPr>
                      <a:defRPr sz="800">
                        <a:latin typeface="Nexa Book"/>
                      </a:defRPr>
                    </a:pPr>
                    <a:r>
                      <a:t>1.2 %</a:t>
                    </a:r>
                  </a:p>
                </c:rich>
              </c:tx>
              <c:dLblPos val="ctr"/>
              <c:showLegendKey val="0"/>
              <c:showVal val="1"/>
              <c:showCatName val="0"/>
              <c:showSerName val="0"/>
              <c:showPercent val="0"/>
              <c:showBubbleSize val="0"/>
            </c:dLbl>
            <c:dLbl>
              <c:idx val="6"/>
              <c:tx>
                <c:rich>
                  <a:bodyPr/>
                  <a:lstStyle/>
                  <a:p>
                    <a:pPr>
                      <a:defRPr sz="800">
                        <a:latin typeface="Nexa Book"/>
                      </a:defRPr>
                    </a:pPr>
                    <a:r>
                      <a:t>3.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4394482818412766</c:v>
                </c:pt>
                <c:pt idx="2">
                  <c:v>0.005245060132608768</c:v>
                </c:pt>
                <c:pt idx="3">
                  <c:v>0.43678669749191595</c:v>
                </c:pt>
                <c:pt idx="4">
                  <c:v>0.07582104388602702</c:v>
                </c:pt>
                <c:pt idx="5">
                  <c:v>0.011675432738436386</c:v>
                </c:pt>
                <c:pt idx="6">
                  <c:v>0.0310234839097352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5809</a:t>
                    </a:r>
                  </a:p>
                </c:rich>
              </c:tx>
              <c:dLblPos val="ctr"/>
              <c:showLegendKey val="0"/>
              <c:showVal val="1"/>
              <c:showCatName val="0"/>
              <c:showSerName val="0"/>
              <c:showPercent val="0"/>
              <c:showBubbleSize val="0"/>
            </c:dLbl>
            <c:dLbl>
              <c:idx val="1"/>
              <c:tx>
                <c:rich>
                  <a:bodyPr/>
                  <a:lstStyle/>
                  <a:p>
                    <a:pPr>
                      <a:defRPr sz="800">
                        <a:latin typeface="Nexa Book"/>
                      </a:defRPr>
                    </a:pPr>
                    <a:r>
                      <a:t>3146</a:t>
                    </a:r>
                  </a:p>
                </c:rich>
              </c:tx>
              <c:dLblPos val="ctr"/>
              <c:showLegendKey val="0"/>
              <c:showVal val="1"/>
              <c:showCatName val="0"/>
              <c:showSerName val="0"/>
              <c:showPercent val="0"/>
              <c:showBubbleSize val="0"/>
            </c:dLbl>
            <c:dLbl>
              <c:idx val="2"/>
              <c:tx>
                <c:rich>
                  <a:bodyPr/>
                  <a:lstStyle/>
                  <a:p>
                    <a:pPr>
                      <a:defRPr sz="800">
                        <a:latin typeface="Nexa Book"/>
                      </a:defRPr>
                    </a:pPr>
                    <a:r>
                      <a:t>899</a:t>
                    </a:r>
                  </a:p>
                </c:rich>
              </c:tx>
              <c:dLblPos val="ctr"/>
              <c:showLegendKey val="0"/>
              <c:showVal val="1"/>
              <c:showCatName val="0"/>
              <c:showSerName val="0"/>
              <c:showPercent val="0"/>
              <c:showBubbleSize val="0"/>
            </c:dLbl>
            <c:dLbl>
              <c:idx val="3"/>
              <c:tx>
                <c:rich>
                  <a:bodyPr/>
                  <a:lstStyle/>
                  <a:p>
                    <a:pPr>
                      <a:defRPr sz="800">
                        <a:latin typeface="Nexa Book"/>
                      </a:defRPr>
                    </a:pPr>
                    <a:r>
                      <a:t>814</a:t>
                    </a:r>
                  </a:p>
                </c:rich>
              </c:tx>
              <c:dLblPos val="ctr"/>
              <c:showLegendKey val="0"/>
              <c:showVal val="1"/>
              <c:showCatName val="0"/>
              <c:showSerName val="0"/>
              <c:showPercent val="0"/>
              <c:showBubbleSize val="0"/>
            </c:dLbl>
            <c:dLbl>
              <c:idx val="4"/>
              <c:tx>
                <c:rich>
                  <a:bodyPr/>
                  <a:lstStyle/>
                  <a:p>
                    <a:pPr>
                      <a:defRPr sz="800">
                        <a:latin typeface="Nexa Book"/>
                      </a:defRPr>
                    </a:pPr>
                    <a:r>
                      <a:t>475</a:t>
                    </a:r>
                  </a:p>
                </c:rich>
              </c:tx>
              <c:dLblPos val="ctr"/>
              <c:showLegendKey val="0"/>
              <c:showVal val="1"/>
              <c:showCatName val="0"/>
              <c:showSerName val="0"/>
              <c:showPercent val="0"/>
              <c:showBubbleSize val="0"/>
            </c:dLbl>
            <c:dLbl>
              <c:idx val="5"/>
              <c:tx>
                <c:rich>
                  <a:bodyPr/>
                  <a:lstStyle/>
                  <a:p>
                    <a:pPr>
                      <a:defRPr sz="800">
                        <a:latin typeface="Nexa Book"/>
                      </a:defRPr>
                    </a:pPr>
                    <a:r>
                      <a:t>303</a:t>
                    </a:r>
                  </a:p>
                </c:rich>
              </c:tx>
              <c:dLblPos val="ctr"/>
              <c:showLegendKey val="0"/>
              <c:showVal val="1"/>
              <c:showCatName val="0"/>
              <c:showSerName val="0"/>
              <c:showPercent val="0"/>
              <c:showBubbleSize val="0"/>
            </c:dLbl>
            <c:dLbl>
              <c:idx val="6"/>
              <c:tx>
                <c:rich>
                  <a:bodyPr/>
                  <a:lstStyle/>
                  <a:p>
                    <a:pPr>
                      <a:defRPr sz="800">
                        <a:latin typeface="Nexa Book"/>
                      </a:defRPr>
                    </a:pPr>
                    <a:r>
                      <a:t>17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580903883.0</c:v>
                </c:pt>
                <c:pt idx="1">
                  <c:v>314598094.0</c:v>
                </c:pt>
                <c:pt idx="2">
                  <c:v>89895090.0</c:v>
                </c:pt>
                <c:pt idx="3">
                  <c:v>81407062.0</c:v>
                </c:pt>
                <c:pt idx="4">
                  <c:v>47520104.0</c:v>
                </c:pt>
                <c:pt idx="5">
                  <c:v>30256399.0</c:v>
                </c:pt>
                <c:pt idx="6">
                  <c:v>17227134.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0</a:t>
                    </a:r>
                  </a:p>
                </c:rich>
              </c:tx>
              <c:dLblPos val="ctr"/>
              <c:showLegendKey val="0"/>
              <c:showVal val="1"/>
              <c:showCatName val="0"/>
              <c:showSerName val="0"/>
              <c:showPercent val="0"/>
              <c:showBubbleSize val="0"/>
            </c:dLbl>
            <c:dLbl>
              <c:idx val="1"/>
              <c:tx>
                <c:rich>
                  <a:bodyPr/>
                  <a:lstStyle/>
                  <a:p>
                    <a:pPr>
                      <a:defRPr sz="800">
                        <a:latin typeface="Nexa Book"/>
                      </a:defRPr>
                    </a:pPr>
                    <a:r>
                      <a:t>44</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44</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011706.0</c:v>
                </c:pt>
                <c:pt idx="1">
                  <c:v>4399627.0</c:v>
                </c:pt>
                <c:pt idx="2">
                  <c:v>52512.0</c:v>
                </c:pt>
                <c:pt idx="3">
                  <c:v>4372980.0</c:v>
                </c:pt>
                <c:pt idx="4">
                  <c:v>759098.0</c:v>
                </c:pt>
                <c:pt idx="5">
                  <c:v>116891.0</c:v>
                </c:pt>
                <c:pt idx="6">
                  <c:v>310598.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8 %</a:t>
                    </a:r>
                  </a:p>
                </c:rich>
              </c:tx>
              <c:dLblPos val="ctr"/>
              <c:showLegendKey val="0"/>
              <c:showVal val="1"/>
              <c:showCatName val="0"/>
              <c:showSerName val="0"/>
              <c:showPercent val="0"/>
              <c:showBubbleSize val="0"/>
            </c:dLbl>
            <c:dLbl>
              <c:idx val="2"/>
              <c:tx>
                <c:rich>
                  <a:bodyPr/>
                  <a:lstStyle/>
                  <a:p>
                    <a:pPr>
                      <a:defRPr sz="800">
                        <a:latin typeface="Nexa Book"/>
                      </a:defRPr>
                    </a:pPr>
                    <a:r>
                      <a:t>1.6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dLbl>
              <c:idx val="4"/>
              <c:tx>
                <c:rich>
                  <a:bodyPr/>
                  <a:lstStyle/>
                  <a:p>
                    <a:pPr>
                      <a:defRPr sz="800">
                        <a:latin typeface="Nexa Book"/>
                      </a:defRPr>
                    </a:pPr>
                    <a:r>
                      <a:t>-0.5 %</a:t>
                    </a:r>
                  </a:p>
                </c:rich>
              </c:tx>
              <c:dLblPos val="ctr"/>
              <c:showLegendKey val="0"/>
              <c:showVal val="1"/>
              <c:showCatName val="0"/>
              <c:showSerName val="0"/>
              <c:showPercent val="0"/>
              <c:showBubbleSize val="0"/>
            </c:dLbl>
            <c:dLbl>
              <c:idx val="5"/>
              <c:tx>
                <c:rich>
                  <a:bodyPr/>
                  <a:lstStyle/>
                  <a:p>
                    <a:pPr>
                      <a:defRPr sz="800">
                        <a:latin typeface="Nexa Book"/>
                      </a:defRPr>
                    </a:pPr>
                    <a:r>
                      <a:t>0.6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007978429633580975</c:v>
                </c:pt>
                <c:pt idx="2">
                  <c:v>0.01601282857493283</c:v>
                </c:pt>
                <c:pt idx="3">
                  <c:v>-0.008515093351743552</c:v>
                </c:pt>
                <c:pt idx="4">
                  <c:v>-0.004672584950277864</c:v>
                </c:pt>
                <c:pt idx="5">
                  <c:v>0.006016444471336174</c:v>
                </c:pt>
                <c:pt idx="6">
                  <c:v>-0.000863165110666575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4.8 %</a:t>
                    </a:r>
                  </a:p>
                </c:rich>
              </c:tx>
              <c:dLblPos val="ctr"/>
              <c:showLegendKey val="0"/>
              <c:showVal val="1"/>
              <c:showCatName val="0"/>
              <c:showSerName val="0"/>
              <c:showPercent val="0"/>
              <c:showBubbleSize val="0"/>
            </c:dLbl>
            <c:dLbl>
              <c:idx val="2"/>
              <c:tx>
                <c:rich>
                  <a:bodyPr/>
                  <a:lstStyle/>
                  <a:p>
                    <a:pPr>
                      <a:defRPr sz="800">
                        <a:latin typeface="Nexa Book"/>
                      </a:defRPr>
                    </a:pPr>
                    <a:r>
                      <a:t>-0.1 %</a:t>
                    </a:r>
                  </a:p>
                </c:rich>
              </c:tx>
              <c:dLblPos val="ctr"/>
              <c:showLegendKey val="0"/>
              <c:showVal val="1"/>
              <c:showCatName val="0"/>
              <c:showSerName val="0"/>
              <c:showPercent val="0"/>
              <c:showBubbleSize val="0"/>
            </c:dLbl>
            <c:dLbl>
              <c:idx val="3"/>
              <c:tx>
                <c:rich>
                  <a:bodyPr/>
                  <a:lstStyle/>
                  <a:p>
                    <a:pPr>
                      <a:defRPr sz="800">
                        <a:latin typeface="Nexa Book"/>
                      </a:defRPr>
                    </a:pPr>
                    <a:r>
                      <a:t>-6.4 %</a:t>
                    </a:r>
                  </a:p>
                </c:rich>
              </c:tx>
              <c:dLblPos val="ctr"/>
              <c:showLegendKey val="0"/>
              <c:showVal val="1"/>
              <c:showCatName val="0"/>
              <c:showSerName val="0"/>
              <c:showPercent val="0"/>
              <c:showBubbleSize val="0"/>
            </c:dLbl>
            <c:dLbl>
              <c:idx val="4"/>
              <c:tx>
                <c:rich>
                  <a:bodyPr/>
                  <a:lstStyle/>
                  <a:p>
                    <a:pPr>
                      <a:defRPr sz="800">
                        <a:latin typeface="Nexa Book"/>
                      </a:defRPr>
                    </a:pPr>
                    <a:r>
                      <a:t>0.5 %</a:t>
                    </a:r>
                  </a:p>
                </c:rich>
              </c:tx>
              <c:dLblPos val="ctr"/>
              <c:showLegendKey val="0"/>
              <c:showVal val="1"/>
              <c:showCatName val="0"/>
              <c:showSerName val="0"/>
              <c:showPercent val="0"/>
              <c:showBubbleSize val="0"/>
            </c:dLbl>
            <c:dLbl>
              <c:idx val="5"/>
              <c:tx>
                <c:rich>
                  <a:bodyPr/>
                  <a:lstStyle/>
                  <a:p>
                    <a:pPr>
                      <a:defRPr sz="800">
                        <a:latin typeface="Nexa Book"/>
                      </a:defRPr>
                    </a:pPr>
                    <a:r>
                      <a:t>0.6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04809902425573753</c:v>
                </c:pt>
                <c:pt idx="2">
                  <c:v>-0.0012700184196988047</c:v>
                </c:pt>
                <c:pt idx="3">
                  <c:v>-0.06386052053042907</c:v>
                </c:pt>
                <c:pt idx="4">
                  <c:v>0.005161524137024295</c:v>
                </c:pt>
                <c:pt idx="5">
                  <c:v>0.0058495032220729866</c:v>
                </c:pt>
                <c:pt idx="6">
                  <c:v>0.006020487335292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130018165797229</c:v>
                </c:pt>
                <c:pt idx="1">
                  <c:v>0.40057753887271347</c:v>
                </c:pt>
                <c:pt idx="2">
                  <c:v>0.060980872153904374</c:v>
                </c:pt>
                <c:pt idx="3">
                  <c:v>0.025439689846242643</c:v>
                </c:pt>
                <c:pt idx="4">
                  <c:v>8.254741657747762e-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3864807094167588</c:v>
                </c:pt>
                <c:pt idx="1">
                  <c:v>0.023543672154147655</c:v>
                </c:pt>
                <c:pt idx="2">
                  <c:v>0.0013115584322469717</c:v>
                </c:pt>
                <c:pt idx="3">
                  <c:v>0.013792872194708808</c:v>
                </c:pt>
                <c:pt idx="4">
                  <c:v>-3.183942754528147e-0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3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dLbl>
              <c:idx val="3"/>
              <c:tx>
                <c:rich>
                  <a:bodyPr/>
                  <a:lstStyle/>
                  <a:p>
                    <a:pPr>
                      <a:defRPr sz="800">
                        <a:latin typeface="Nexa Book"/>
                      </a:defRPr>
                    </a:pPr>
                    <a:r>
                      <a:t>10.5 %</a:t>
                    </a:r>
                  </a:p>
                </c:rich>
              </c:tx>
              <c:dLblPos val="ctr"/>
              <c:showLegendKey val="0"/>
              <c:showVal val="1"/>
              <c:showCatName val="0"/>
              <c:showSerName val="0"/>
              <c:showPercent val="0"/>
              <c:showBubbleSize val="0"/>
            </c:dLbl>
            <c:dLbl>
              <c:idx val="4"/>
              <c:tx>
                <c:rich>
                  <a:bodyPr/>
                  <a:lstStyle/>
                  <a:p>
                    <a:pPr>
                      <a:defRPr sz="800">
                        <a:latin typeface="Nexa Book"/>
                      </a:defRPr>
                    </a:pPr>
                    <a:r>
                      <a:t>4.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1.0</c:v>
                </c:pt>
                <c:pt idx="1">
                  <c:v>0.6933140364607413</c:v>
                </c:pt>
                <c:pt idx="2">
                  <c:v>0.1618433590828081</c:v>
                </c:pt>
                <c:pt idx="3">
                  <c:v>0.10518516282851076</c:v>
                </c:pt>
                <c:pt idx="4">
                  <c:v>0.039657441627939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00.0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1.0</c:v>
                </c:pt>
                <c:pt idx="1">
                  <c:v>0.0</c:v>
                </c:pt>
                <c:pt idx="2">
                  <c:v>1.0</c:v>
                </c:pt>
                <c:pt idx="3">
                  <c:v>0.0</c:v>
                </c:pt>
                <c:pt idx="4">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35</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dLbl>
              <c:idx val="3"/>
              <c:tx>
                <c:rich>
                  <a:bodyPr/>
                  <a:lstStyle/>
                  <a:p>
                    <a:pPr>
                      <a:defRPr sz="800">
                        <a:latin typeface="Nexa Book"/>
                      </a:defRPr>
                    </a:pPr>
                    <a:r>
                      <a:t>36</a:t>
                    </a:r>
                  </a:p>
                </c:rich>
              </c:tx>
              <c:dLblPos val="ctr"/>
              <c:showLegendKey val="0"/>
              <c:showVal val="1"/>
              <c:showCatName val="0"/>
              <c:showSerName val="0"/>
              <c:showPercent val="0"/>
              <c:showBubbleSize val="0"/>
            </c:dLbl>
            <c:dLbl>
              <c:idx val="4"/>
              <c:tx>
                <c:rich>
                  <a:bodyPr/>
                  <a:lstStyle/>
                  <a:p>
                    <a:pPr>
                      <a:defRPr sz="800">
                        <a:latin typeface="Nexa Book"/>
                      </a:defRPr>
                    </a:pPr>
                    <a:r>
                      <a:t>1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33861791.0</c:v>
                </c:pt>
                <c:pt idx="1">
                  <c:v>23476855.0</c:v>
                </c:pt>
                <c:pt idx="2">
                  <c:v>5480306.0</c:v>
                </c:pt>
                <c:pt idx="3">
                  <c:v>3561758.0</c:v>
                </c:pt>
                <c:pt idx="4">
                  <c:v>134287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3</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324121.0</c:v>
                </c:pt>
                <c:pt idx="1">
                  <c:v>0.0</c:v>
                </c:pt>
                <c:pt idx="2">
                  <c:v>324121.0</c:v>
                </c:pt>
                <c:pt idx="3">
                  <c:v>0.0</c:v>
                </c:pt>
                <c:pt idx="4">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dLbl>
              <c:idx val="3"/>
              <c:tx>
                <c:rich>
                  <a:bodyPr/>
                  <a:lstStyle/>
                  <a:p>
                    <a:pPr>
                      <a:defRPr sz="800">
                        <a:latin typeface="Nexa Book"/>
                      </a:defRPr>
                    </a:pPr>
                    <a:r>
                      <a:t>-0.2 %</a:t>
                    </a:r>
                  </a:p>
                </c:rich>
              </c:tx>
              <c:dLblPos val="ctr"/>
              <c:showLegendKey val="0"/>
              <c:showVal val="1"/>
              <c:showCatName val="0"/>
              <c:showSerName val="0"/>
              <c:showPercent val="0"/>
              <c:showBubbleSize val="0"/>
            </c:dLbl>
            <c:dLbl>
              <c:idx val="4"/>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0.0</c:v>
                </c:pt>
                <c:pt idx="1">
                  <c:v>0.01327882912712497</c:v>
                </c:pt>
                <c:pt idx="2">
                  <c:v>-0.013430089040203846</c:v>
                </c:pt>
                <c:pt idx="3">
                  <c:v>-0.0021950786546539452</c:v>
                </c:pt>
                <c:pt idx="4">
                  <c:v>0.0023463385677328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0.0</c:v>
                </c:pt>
                <c:pt idx="1">
                  <c:v>0.0</c:v>
                </c:pt>
                <c:pt idx="2">
                  <c:v>0.0</c:v>
                </c:pt>
                <c:pt idx="3">
                  <c:v>0.0</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6.9 %</a:t>
                    </a:r>
                  </a:p>
                </c:rich>
              </c:tx>
              <c:dLblPos val="ctr"/>
              <c:showLegendKey val="0"/>
              <c:showVal val="1"/>
              <c:showCatName val="0"/>
              <c:showSerName val="0"/>
              <c:showPercent val="0"/>
              <c:showBubbleSize val="0"/>
            </c:dLbl>
            <c:dLbl>
              <c:idx val="2"/>
              <c:tx>
                <c:rich>
                  <a:bodyPr/>
                  <a:lstStyle/>
                  <a:p>
                    <a:pPr>
                      <a:defRPr sz="800">
                        <a:latin typeface="Nexa Book"/>
                      </a:defRPr>
                    </a:pPr>
                    <a:r>
                      <a:t>21.6 %</a:t>
                    </a:r>
                  </a:p>
                </c:rich>
              </c:tx>
              <c:dLblPos val="ctr"/>
              <c:showLegendKey val="0"/>
              <c:showVal val="1"/>
              <c:showCatName val="0"/>
              <c:showSerName val="0"/>
              <c:showPercent val="0"/>
              <c:showBubbleSize val="0"/>
            </c:dLbl>
            <c:dLbl>
              <c:idx val="3"/>
              <c:tx>
                <c:rich>
                  <a:bodyPr/>
                  <a:lstStyle/>
                  <a:p>
                    <a:pPr>
                      <a:defRPr sz="800">
                        <a:latin typeface="Nexa Book"/>
                      </a:defRPr>
                    </a:pPr>
                    <a:r>
                      <a:t>15.6 %</a:t>
                    </a:r>
                  </a:p>
                </c:rich>
              </c:tx>
              <c:dLblPos val="ctr"/>
              <c:showLegendKey val="0"/>
              <c:showVal val="1"/>
              <c:showCatName val="0"/>
              <c:showSerName val="0"/>
              <c:showPercent val="0"/>
              <c:showBubbleSize val="0"/>
            </c:dLbl>
            <c:dLbl>
              <c:idx val="4"/>
              <c:tx>
                <c:rich>
                  <a:bodyPr/>
                  <a:lstStyle/>
                  <a:p>
                    <a:pPr>
                      <a:defRPr sz="800">
                        <a:latin typeface="Nexa Book"/>
                      </a:defRPr>
                    </a:pPr>
                    <a:r>
                      <a:t>7.9 %</a:t>
                    </a:r>
                  </a:p>
                </c:rich>
              </c:tx>
              <c:dLblPos val="ctr"/>
              <c:showLegendKey val="0"/>
              <c:showVal val="1"/>
              <c:showCatName val="0"/>
              <c:showSerName val="0"/>
              <c:showPercent val="0"/>
              <c:showBubbleSize val="0"/>
            </c:dLbl>
            <c:dLbl>
              <c:idx val="5"/>
              <c:tx>
                <c:rich>
                  <a:bodyPr/>
                  <a:lstStyle/>
                  <a:p>
                    <a:pPr>
                      <a:defRPr sz="800">
                        <a:latin typeface="Nexa Book"/>
                      </a:defRPr>
                    </a:pPr>
                    <a:r>
                      <a:t>5.9 %</a:t>
                    </a:r>
                  </a:p>
                </c:rich>
              </c:tx>
              <c:dLblPos val="ctr"/>
              <c:showLegendKey val="0"/>
              <c:showVal val="1"/>
              <c:showCatName val="0"/>
              <c:showSerName val="0"/>
              <c:showPercent val="0"/>
              <c:showBubbleSize val="0"/>
            </c:dLbl>
            <c:dLbl>
              <c:idx val="6"/>
              <c:tx>
                <c:rich>
                  <a:bodyPr/>
                  <a:lstStyle/>
                  <a:p>
                    <a:pPr>
                      <a:defRPr sz="800">
                        <a:latin typeface="Nexa Book"/>
                      </a:defRPr>
                    </a:pPr>
                    <a:r>
                      <a:t>2.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0</c:v>
                </c:pt>
                <c:pt idx="1">
                  <c:v>0.4686852752532003</c:v>
                </c:pt>
                <c:pt idx="2">
                  <c:v>0.21622979039682286</c:v>
                </c:pt>
                <c:pt idx="3">
                  <c:v>0.15610474320054835</c:v>
                </c:pt>
                <c:pt idx="4">
                  <c:v>0.0786922067043304</c:v>
                </c:pt>
                <c:pt idx="5">
                  <c:v>0.059422590383812514</c:v>
                </c:pt>
                <c:pt idx="6">
                  <c:v>0.0208653940612855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3.2 %</a:t>
                    </a:r>
                  </a:p>
                </c:rich>
              </c:tx>
              <c:dLblPos val="ctr"/>
              <c:showLegendKey val="0"/>
              <c:showVal val="1"/>
              <c:showCatName val="0"/>
              <c:showSerName val="0"/>
              <c:showPercent val="0"/>
              <c:showBubbleSize val="0"/>
            </c:dLbl>
            <c:dLbl>
              <c:idx val="2"/>
              <c:tx>
                <c:rich>
                  <a:bodyPr/>
                  <a:lstStyle/>
                  <a:p>
                    <a:pPr>
                      <a:defRPr sz="800">
                        <a:latin typeface="Nexa Book"/>
                      </a:defRPr>
                    </a:pPr>
                    <a:r>
                      <a:t>13.5 %</a:t>
                    </a:r>
                  </a:p>
                </c:rich>
              </c:tx>
              <c:dLblPos val="ctr"/>
              <c:showLegendKey val="0"/>
              <c:showVal val="1"/>
              <c:showCatName val="0"/>
              <c:showSerName val="0"/>
              <c:showPercent val="0"/>
              <c:showBubbleSize val="0"/>
            </c:dLbl>
            <c:dLbl>
              <c:idx val="3"/>
              <c:tx>
                <c:rich>
                  <a:bodyPr/>
                  <a:lstStyle/>
                  <a:p>
                    <a:pPr>
                      <a:defRPr sz="800">
                        <a:latin typeface="Nexa Book"/>
                      </a:defRPr>
                    </a:pPr>
                    <a:r>
                      <a:t>13.2 %</a:t>
                    </a:r>
                  </a:p>
                </c:rich>
              </c:tx>
              <c:dLblPos val="ctr"/>
              <c:showLegendKey val="0"/>
              <c:showVal val="1"/>
              <c:showCatName val="0"/>
              <c:showSerName val="0"/>
              <c:showPercent val="0"/>
              <c:showBubbleSize val="0"/>
            </c:dLbl>
            <c:dLbl>
              <c:idx val="4"/>
              <c:tx>
                <c:rich>
                  <a:bodyPr/>
                  <a:lstStyle/>
                  <a:p>
                    <a:pPr>
                      <a:defRPr sz="800">
                        <a:latin typeface="Nexa Book"/>
                      </a:defRPr>
                    </a:pPr>
                    <a:r>
                      <a:t>0.6 %</a:t>
                    </a:r>
                  </a:p>
                </c:rich>
              </c:tx>
              <c:dLblPos val="ctr"/>
              <c:showLegendKey val="0"/>
              <c:showVal val="1"/>
              <c:showCatName val="0"/>
              <c:showSerName val="0"/>
              <c:showPercent val="0"/>
              <c:showBubbleSize val="0"/>
            </c:dLbl>
            <c:dLbl>
              <c:idx val="5"/>
              <c:tx>
                <c:rich>
                  <a:bodyPr/>
                  <a:lstStyle/>
                  <a:p>
                    <a:pPr>
                      <a:defRPr sz="800">
                        <a:latin typeface="Nexa Book"/>
                      </a:defRPr>
                    </a:pPr>
                    <a:r>
                      <a:t>6.6 %</a:t>
                    </a:r>
                  </a:p>
                </c:rich>
              </c:tx>
              <c:dLblPos val="ctr"/>
              <c:showLegendKey val="0"/>
              <c:showVal val="1"/>
              <c:showCatName val="0"/>
              <c:showSerName val="0"/>
              <c:showPercent val="0"/>
              <c:showBubbleSize val="0"/>
            </c:dLbl>
            <c:dLbl>
              <c:idx val="6"/>
              <c:tx>
                <c:rich>
                  <a:bodyPr/>
                  <a:lstStyle/>
                  <a:p>
                    <a:pPr>
                      <a:defRPr sz="800">
                        <a:latin typeface="Nexa Book"/>
                      </a:defRPr>
                    </a:pPr>
                    <a:r>
                      <a:t>2.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0</c:v>
                </c:pt>
                <c:pt idx="1">
                  <c:v>0.6324129816541317</c:v>
                </c:pt>
                <c:pt idx="2">
                  <c:v>0.13488382895190942</c:v>
                </c:pt>
                <c:pt idx="3">
                  <c:v>0.13214302804023303</c:v>
                </c:pt>
                <c:pt idx="4">
                  <c:v>0.006101366967015136</c:v>
                </c:pt>
                <c:pt idx="5">
                  <c:v>0.06612137562044958</c:v>
                </c:pt>
                <c:pt idx="6">
                  <c:v>0.0283374187662610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33783615732861</c:v>
                </c:pt>
                <c:pt idx="1">
                  <c:v>0.16684240323760874</c:v>
                </c:pt>
                <c:pt idx="2">
                  <c:v>0.15782544969046577</c:v>
                </c:pt>
                <c:pt idx="3">
                  <c:v>0.1296231454536247</c:v>
                </c:pt>
                <c:pt idx="4">
                  <c:v>0.07588084594097225</c:v>
                </c:pt>
                <c:pt idx="5">
                  <c:v>0.060980872153904374</c:v>
                </c:pt>
                <c:pt idx="6">
                  <c:v>0.025439689846242643</c:v>
                </c:pt>
                <c:pt idx="7">
                  <c:v>2.3887158672107588e-05</c:v>
                </c:pt>
                <c:pt idx="8">
                  <c:v>5.344945223391677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04</a:t>
                    </a:r>
                  </a:p>
                </c:rich>
              </c:tx>
              <c:dLblPos val="ctr"/>
              <c:showLegendKey val="0"/>
              <c:showVal val="1"/>
              <c:showCatName val="0"/>
              <c:showSerName val="0"/>
              <c:showPercent val="0"/>
              <c:showBubbleSize val="0"/>
            </c:dLbl>
            <c:dLbl>
              <c:idx val="1"/>
              <c:tx>
                <c:rich>
                  <a:bodyPr/>
                  <a:lstStyle/>
                  <a:p>
                    <a:pPr>
                      <a:defRPr sz="800">
                        <a:latin typeface="Nexa Book"/>
                      </a:defRPr>
                    </a:pPr>
                    <a:r>
                      <a:t>1549</a:t>
                    </a:r>
                  </a:p>
                </c:rich>
              </c:tx>
              <c:dLblPos val="ctr"/>
              <c:showLegendKey val="0"/>
              <c:showVal val="1"/>
              <c:showCatName val="0"/>
              <c:showSerName val="0"/>
              <c:showPercent val="0"/>
              <c:showBubbleSize val="0"/>
            </c:dLbl>
            <c:dLbl>
              <c:idx val="2"/>
              <c:tx>
                <c:rich>
                  <a:bodyPr/>
                  <a:lstStyle/>
                  <a:p>
                    <a:pPr>
                      <a:defRPr sz="800">
                        <a:latin typeface="Nexa Book"/>
                      </a:defRPr>
                    </a:pPr>
                    <a:r>
                      <a:t>715</a:t>
                    </a:r>
                  </a:p>
                </c:rich>
              </c:tx>
              <c:dLblPos val="ctr"/>
              <c:showLegendKey val="0"/>
              <c:showVal val="1"/>
              <c:showCatName val="0"/>
              <c:showSerName val="0"/>
              <c:showPercent val="0"/>
              <c:showBubbleSize val="0"/>
            </c:dLbl>
            <c:dLbl>
              <c:idx val="3"/>
              <c:tx>
                <c:rich>
                  <a:bodyPr/>
                  <a:lstStyle/>
                  <a:p>
                    <a:pPr>
                      <a:defRPr sz="800">
                        <a:latin typeface="Nexa Book"/>
                      </a:defRPr>
                    </a:pPr>
                    <a:r>
                      <a:t>516</a:t>
                    </a:r>
                  </a:p>
                </c:rich>
              </c:tx>
              <c:dLblPos val="ctr"/>
              <c:showLegendKey val="0"/>
              <c:showVal val="1"/>
              <c:showCatName val="0"/>
              <c:showSerName val="0"/>
              <c:showPercent val="0"/>
              <c:showBubbleSize val="0"/>
            </c:dLbl>
            <c:dLbl>
              <c:idx val="4"/>
              <c:tx>
                <c:rich>
                  <a:bodyPr/>
                  <a:lstStyle/>
                  <a:p>
                    <a:pPr>
                      <a:defRPr sz="800">
                        <a:latin typeface="Nexa Book"/>
                      </a:defRPr>
                    </a:pPr>
                    <a:r>
                      <a:t>260</a:t>
                    </a:r>
                  </a:p>
                </c:rich>
              </c:tx>
              <c:dLblPos val="ctr"/>
              <c:showLegendKey val="0"/>
              <c:showVal val="1"/>
              <c:showCatName val="0"/>
              <c:showSerName val="0"/>
              <c:showPercent val="0"/>
              <c:showBubbleSize val="0"/>
            </c:dLbl>
            <c:dLbl>
              <c:idx val="5"/>
              <c:tx>
                <c:rich>
                  <a:bodyPr/>
                  <a:lstStyle/>
                  <a:p>
                    <a:pPr>
                      <a:defRPr sz="800">
                        <a:latin typeface="Nexa Book"/>
                      </a:defRPr>
                    </a:pPr>
                    <a:r>
                      <a:t>196</a:t>
                    </a:r>
                  </a:p>
                </c:rich>
              </c:tx>
              <c:dLblPos val="ctr"/>
              <c:showLegendKey val="0"/>
              <c:showVal val="1"/>
              <c:showCatName val="0"/>
              <c:showSerName val="0"/>
              <c:showPercent val="0"/>
              <c:showBubbleSize val="0"/>
            </c:dLbl>
            <c:dLbl>
              <c:idx val="6"/>
              <c:tx>
                <c:rich>
                  <a:bodyPr/>
                  <a:lstStyle/>
                  <a:p>
                    <a:pPr>
                      <a:defRPr sz="800">
                        <a:latin typeface="Nexa Book"/>
                      </a:defRPr>
                    </a:pPr>
                    <a:r>
                      <a:t>69</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330444514.0</c:v>
                </c:pt>
                <c:pt idx="1">
                  <c:v>154874478.0</c:v>
                </c:pt>
                <c:pt idx="2">
                  <c:v>71451948.0</c:v>
                </c:pt>
                <c:pt idx="3">
                  <c:v>51583956.0</c:v>
                </c:pt>
                <c:pt idx="4">
                  <c:v>26003408.0</c:v>
                </c:pt>
                <c:pt idx="5">
                  <c:v>19635869.0</c:v>
                </c:pt>
                <c:pt idx="6">
                  <c:v>689485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78</a:t>
                    </a:r>
                  </a:p>
                </c:rich>
              </c:tx>
              <c:dLblPos val="ctr"/>
              <c:showLegendKey val="0"/>
              <c:showVal val="1"/>
              <c:showCatName val="0"/>
              <c:showSerName val="0"/>
              <c:showPercent val="0"/>
              <c:showBubbleSize val="0"/>
            </c:dLbl>
            <c:dLbl>
              <c:idx val="1"/>
              <c:tx>
                <c:rich>
                  <a:bodyPr/>
                  <a:lstStyle/>
                  <a:p>
                    <a:pPr>
                      <a:defRPr sz="800">
                        <a:latin typeface="Nexa Book"/>
                      </a:defRPr>
                    </a:pPr>
                    <a:r>
                      <a:t>239</a:t>
                    </a:r>
                  </a:p>
                </c:rich>
              </c:tx>
              <c:dLblPos val="ctr"/>
              <c:showLegendKey val="0"/>
              <c:showVal val="1"/>
              <c:showCatName val="0"/>
              <c:showSerName val="0"/>
              <c:showPercent val="0"/>
              <c:showBubbleSize val="0"/>
            </c:dLbl>
            <c:dLbl>
              <c:idx val="2"/>
              <c:tx>
                <c:rich>
                  <a:bodyPr/>
                  <a:lstStyle/>
                  <a:p>
                    <a:pPr>
                      <a:defRPr sz="800">
                        <a:latin typeface="Nexa Book"/>
                      </a:defRPr>
                    </a:pPr>
                    <a:r>
                      <a:t>51</a:t>
                    </a:r>
                  </a:p>
                </c:rich>
              </c:tx>
              <c:dLblPos val="ctr"/>
              <c:showLegendKey val="0"/>
              <c:showVal val="1"/>
              <c:showCatName val="0"/>
              <c:showSerName val="0"/>
              <c:showPercent val="0"/>
              <c:showBubbleSize val="0"/>
            </c:dLbl>
            <c:dLbl>
              <c:idx val="3"/>
              <c:tx>
                <c:rich>
                  <a:bodyPr/>
                  <a:lstStyle/>
                  <a:p>
                    <a:pPr>
                      <a:defRPr sz="800">
                        <a:latin typeface="Nexa Book"/>
                      </a:defRPr>
                    </a:pPr>
                    <a:r>
                      <a:t>50</a:t>
                    </a:r>
                  </a:p>
                </c:rich>
              </c:tx>
              <c:dLblPos val="ctr"/>
              <c:showLegendKey val="0"/>
              <c:showVal val="1"/>
              <c:showCatName val="0"/>
              <c:showSerName val="0"/>
              <c:showPercent val="0"/>
              <c:showBubbleSize val="0"/>
            </c:dLbl>
            <c:dLbl>
              <c:idx val="4"/>
              <c:tx>
                <c:rich>
                  <a:bodyPr/>
                  <a:lstStyle/>
                  <a:p>
                    <a:pPr>
                      <a:defRPr sz="800">
                        <a:latin typeface="Nexa Book"/>
                      </a:defRPr>
                    </a:pPr>
                    <a:r>
                      <a:t>2</a:t>
                    </a:r>
                  </a:p>
                </c:rich>
              </c:tx>
              <c:dLblPos val="ctr"/>
              <c:showLegendKey val="0"/>
              <c:showVal val="1"/>
              <c:showCatName val="0"/>
              <c:showSerName val="0"/>
              <c:showPercent val="0"/>
              <c:showBubbleSize val="0"/>
            </c:dLbl>
            <c:dLbl>
              <c:idx val="5"/>
              <c:tx>
                <c:rich>
                  <a:bodyPr/>
                  <a:lstStyle/>
                  <a:p>
                    <a:pPr>
                      <a:defRPr sz="800">
                        <a:latin typeface="Nexa Book"/>
                      </a:defRPr>
                    </a:pPr>
                    <a:r>
                      <a:t>25</a:t>
                    </a:r>
                  </a:p>
                </c:rich>
              </c:tx>
              <c:dLblPos val="ctr"/>
              <c:showLegendKey val="0"/>
              <c:showVal val="1"/>
              <c:showCatName val="0"/>
              <c:showSerName val="0"/>
              <c:showPercent val="0"/>
              <c:showBubbleSize val="0"/>
            </c:dLbl>
            <c:dLbl>
              <c:idx val="6"/>
              <c:tx>
                <c:rich>
                  <a:bodyPr/>
                  <a:lstStyle/>
                  <a:p>
                    <a:pPr>
                      <a:defRPr sz="800">
                        <a:latin typeface="Nexa Book"/>
                      </a:defRPr>
                    </a:pPr>
                    <a:r>
                      <a:t>1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37804643.0</c:v>
                </c:pt>
                <c:pt idx="1">
                  <c:v>23908147.0</c:v>
                </c:pt>
                <c:pt idx="2">
                  <c:v>5099235.0</c:v>
                </c:pt>
                <c:pt idx="3">
                  <c:v>4995620.0</c:v>
                </c:pt>
                <c:pt idx="4">
                  <c:v>230660.0</c:v>
                </c:pt>
                <c:pt idx="5">
                  <c:v>2499695.0</c:v>
                </c:pt>
                <c:pt idx="6">
                  <c:v>107128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1.9 %</a:t>
                    </a:r>
                  </a:p>
                </c:rich>
              </c:tx>
              <c:dLblPos val="ctr"/>
              <c:showLegendKey val="0"/>
              <c:showVal val="1"/>
              <c:showCatName val="0"/>
              <c:showSerName val="0"/>
              <c:showPercent val="0"/>
              <c:showBubbleSize val="0"/>
            </c:dLbl>
            <c:dLbl>
              <c:idx val="3"/>
              <c:tx>
                <c:rich>
                  <a:bodyPr/>
                  <a:lstStyle/>
                  <a:p>
                    <a:pPr>
                      <a:defRPr sz="800">
                        <a:latin typeface="Nexa Book"/>
                      </a:defRPr>
                    </a:pPr>
                    <a:r>
                      <a:t>-1.6 %</a:t>
                    </a:r>
                  </a:p>
                </c:rich>
              </c:tx>
              <c:dLblPos val="ctr"/>
              <c:showLegendKey val="0"/>
              <c:showVal val="1"/>
              <c:showCatName val="0"/>
              <c:showSerName val="0"/>
              <c:showPercent val="0"/>
              <c:showBubbleSize val="0"/>
            </c:dLbl>
            <c:dLbl>
              <c:idx val="4"/>
              <c:tx>
                <c:rich>
                  <a:bodyPr/>
                  <a:lstStyle/>
                  <a:p>
                    <a:pPr>
                      <a:defRPr sz="800">
                        <a:latin typeface="Nexa Book"/>
                      </a:defRPr>
                    </a:pPr>
                    <a:r>
                      <a:t>0.8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0.0</c:v>
                </c:pt>
                <c:pt idx="1">
                  <c:v>-0.005653537767289163</c:v>
                </c:pt>
                <c:pt idx="2">
                  <c:v>0.019376321815197828</c:v>
                </c:pt>
                <c:pt idx="3">
                  <c:v>-0.016069032357404783</c:v>
                </c:pt>
                <c:pt idx="4">
                  <c:v>0.008367181830902709</c:v>
                </c:pt>
                <c:pt idx="5">
                  <c:v>-0.004955371940534574</c:v>
                </c:pt>
                <c:pt idx="6">
                  <c:v>-0.00106556158087205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1.6 %</a:t>
                    </a:r>
                  </a:p>
                </c:rich>
              </c:tx>
              <c:dLblPos val="ctr"/>
              <c:showLegendKey val="0"/>
              <c:showVal val="1"/>
              <c:showCatName val="0"/>
              <c:showSerName val="0"/>
              <c:showPercent val="0"/>
              <c:showBubbleSize val="0"/>
            </c:dLbl>
            <c:dLbl>
              <c:idx val="2"/>
              <c:tx>
                <c:rich>
                  <a:bodyPr/>
                  <a:lstStyle/>
                  <a:p>
                    <a:pPr>
                      <a:defRPr sz="800">
                        <a:latin typeface="Nexa Book"/>
                      </a:defRPr>
                    </a:pPr>
                    <a:r>
                      <a:t>9.7 %</a:t>
                    </a:r>
                  </a:p>
                </c:rich>
              </c:tx>
              <c:dLblPos val="ctr"/>
              <c:showLegendKey val="0"/>
              <c:showVal val="1"/>
              <c:showCatName val="0"/>
              <c:showSerName val="0"/>
              <c:showPercent val="0"/>
              <c:showBubbleSize val="0"/>
            </c:dLbl>
            <c:dLbl>
              <c:idx val="3"/>
              <c:tx>
                <c:rich>
                  <a:bodyPr/>
                  <a:lstStyle/>
                  <a:p>
                    <a:pPr>
                      <a:defRPr sz="800">
                        <a:latin typeface="Nexa Book"/>
                      </a:defRPr>
                    </a:pPr>
                    <a:r>
                      <a:t>5.2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2.0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0.0</c:v>
                </c:pt>
                <c:pt idx="1">
                  <c:v>-0.11640167595536877</c:v>
                </c:pt>
                <c:pt idx="2">
                  <c:v>0.0974388186663123</c:v>
                </c:pt>
                <c:pt idx="3">
                  <c:v>0.051769205987962294</c:v>
                </c:pt>
                <c:pt idx="4">
                  <c:v>-0.007014422754416833</c:v>
                </c:pt>
                <c:pt idx="5">
                  <c:v>-0.019821637416706936</c:v>
                </c:pt>
                <c:pt idx="6">
                  <c:v>-0.005970288527782037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0614901288322764</c:v>
                </c:pt>
                <c:pt idx="1">
                  <c:v>-0.011603207395772253</c:v>
                </c:pt>
                <c:pt idx="2">
                  <c:v>0.0062396363292070295</c:v>
                </c:pt>
                <c:pt idx="3">
                  <c:v>0.015978533010944478</c:v>
                </c:pt>
                <c:pt idx="4">
                  <c:v>-6.065605657318046e-0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9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2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6290317844643674</c:v>
                </c:pt>
                <c:pt idx="2">
                  <c:v>0.11238722161519277</c:v>
                </c:pt>
                <c:pt idx="3">
                  <c:v>0.11229339323452638</c:v>
                </c:pt>
                <c:pt idx="4">
                  <c:v>0.08514934548344764</c:v>
                </c:pt>
                <c:pt idx="5">
                  <c:v>0.04150280480052275</c:v>
                </c:pt>
                <c:pt idx="6">
                  <c:v>0.0196354504019430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4.0 %</a:t>
                    </a:r>
                  </a:p>
                </c:rich>
              </c:tx>
              <c:dLblPos val="ctr"/>
              <c:showLegendKey val="0"/>
              <c:showVal val="1"/>
              <c:showCatName val="0"/>
              <c:showSerName val="0"/>
              <c:showPercent val="0"/>
              <c:showBubbleSize val="0"/>
            </c:dLbl>
            <c:dLbl>
              <c:idx val="2"/>
              <c:tx>
                <c:rich>
                  <a:bodyPr/>
                  <a:lstStyle/>
                  <a:p>
                    <a:pPr>
                      <a:defRPr sz="800">
                        <a:latin typeface="Nexa Book"/>
                      </a:defRPr>
                    </a:pPr>
                    <a:r>
                      <a:t>27.6 %</a:t>
                    </a:r>
                  </a:p>
                </c:rich>
              </c:tx>
              <c:dLblPos val="ctr"/>
              <c:showLegendKey val="0"/>
              <c:showVal val="1"/>
              <c:showCatName val="0"/>
              <c:showSerName val="0"/>
              <c:showPercent val="0"/>
              <c:showBubbleSize val="0"/>
            </c:dLbl>
            <c:dLbl>
              <c:idx val="3"/>
              <c:tx>
                <c:rich>
                  <a:bodyPr/>
                  <a:lstStyle/>
                  <a:p>
                    <a:pPr>
                      <a:defRPr sz="800">
                        <a:latin typeface="Nexa Book"/>
                      </a:defRPr>
                    </a:pPr>
                    <a:r>
                      <a:t>6.6 %</a:t>
                    </a:r>
                  </a:p>
                </c:rich>
              </c:tx>
              <c:dLblPos val="ctr"/>
              <c:showLegendKey val="0"/>
              <c:showVal val="1"/>
              <c:showCatName val="0"/>
              <c:showSerName val="0"/>
              <c:showPercent val="0"/>
              <c:showBubbleSize val="0"/>
            </c:dLbl>
            <c:dLbl>
              <c:idx val="4"/>
              <c:tx>
                <c:rich>
                  <a:bodyPr/>
                  <a:lstStyle/>
                  <a:p>
                    <a:pPr>
                      <a:defRPr sz="800">
                        <a:latin typeface="Nexa Book"/>
                      </a:defRPr>
                    </a:pPr>
                    <a:r>
                      <a:t>18.6 %</a:t>
                    </a:r>
                  </a:p>
                </c:rich>
              </c:tx>
              <c:dLblPos val="ctr"/>
              <c:showLegendKey val="0"/>
              <c:showVal val="1"/>
              <c:showCatName val="0"/>
              <c:showSerName val="0"/>
              <c:showPercent val="0"/>
              <c:showBubbleSize val="0"/>
            </c:dLbl>
            <c:dLbl>
              <c:idx val="5"/>
              <c:tx>
                <c:rich>
                  <a:bodyPr/>
                  <a:lstStyle/>
                  <a:p>
                    <a:pPr>
                      <a:defRPr sz="800">
                        <a:latin typeface="Nexa Book"/>
                      </a:defRPr>
                    </a:pPr>
                    <a:r>
                      <a:t>2.8 %</a:t>
                    </a:r>
                  </a:p>
                </c:rich>
              </c:tx>
              <c:dLblPos val="ctr"/>
              <c:showLegendKey val="0"/>
              <c:showVal val="1"/>
              <c:showCatName val="0"/>
              <c:showSerName val="0"/>
              <c:showPercent val="0"/>
              <c:showBubbleSize val="0"/>
            </c:dLbl>
            <c:dLbl>
              <c:idx val="6"/>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4398820654513743</c:v>
                </c:pt>
                <c:pt idx="2">
                  <c:v>0.2764799780785349</c:v>
                </c:pt>
                <c:pt idx="3">
                  <c:v>0.06584473395638608</c:v>
                </c:pt>
                <c:pt idx="4">
                  <c:v>0.18649146384616705</c:v>
                </c:pt>
                <c:pt idx="5">
                  <c:v>0.02773685374639205</c:v>
                </c:pt>
                <c:pt idx="6">
                  <c:v>0.00356490492114556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362</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43</a:t>
                    </a:r>
                  </a:p>
                </c:rich>
              </c:tx>
              <c:dLblPos val="ctr"/>
              <c:showLegendKey val="0"/>
              <c:showVal val="1"/>
              <c:showCatName val="0"/>
              <c:showSerName val="0"/>
              <c:showPercent val="0"/>
              <c:showBubbleSize val="0"/>
            </c:dLbl>
            <c:dLbl>
              <c:idx val="4"/>
              <c:tx>
                <c:rich>
                  <a:bodyPr/>
                  <a:lstStyle/>
                  <a:p>
                    <a:pPr>
                      <a:defRPr sz="800">
                        <a:latin typeface="Nexa Book"/>
                      </a:defRPr>
                    </a:pPr>
                    <a:r>
                      <a:t>184</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216597578.0</c:v>
                </c:pt>
                <c:pt idx="1">
                  <c:v>136246761.0</c:v>
                </c:pt>
                <c:pt idx="2">
                  <c:v>24342800.0</c:v>
                </c:pt>
                <c:pt idx="3">
                  <c:v>24322477.0</c:v>
                </c:pt>
                <c:pt idx="4">
                  <c:v>18443142.0</c:v>
                </c:pt>
                <c:pt idx="5">
                  <c:v>8989407.0</c:v>
                </c:pt>
                <c:pt idx="6">
                  <c:v>42529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0</a:t>
                    </a:r>
                  </a:p>
                </c:rich>
              </c:tx>
              <c:dLblPos val="ctr"/>
              <c:showLegendKey val="0"/>
              <c:showVal val="1"/>
              <c:showCatName val="0"/>
              <c:showSerName val="0"/>
              <c:showPercent val="0"/>
              <c:showBubbleSize val="0"/>
            </c:dLbl>
            <c:dLbl>
              <c:idx val="1"/>
              <c:tx>
                <c:rich>
                  <a:bodyPr/>
                  <a:lstStyle/>
                  <a:p>
                    <a:pPr>
                      <a:defRPr sz="800">
                        <a:latin typeface="Nexa Book"/>
                      </a:defRPr>
                    </a:pPr>
                    <a:r>
                      <a:t>26</a:t>
                    </a:r>
                  </a:p>
                </c:rich>
              </c:tx>
              <c:dLblPos val="ctr"/>
              <c:showLegendKey val="0"/>
              <c:showVal val="1"/>
              <c:showCatName val="0"/>
              <c:showSerName val="0"/>
              <c:showPercent val="0"/>
              <c:showBubbleSize val="0"/>
            </c:dLbl>
            <c:dLbl>
              <c:idx val="2"/>
              <c:tx>
                <c:rich>
                  <a:bodyPr/>
                  <a:lstStyle/>
                  <a:p>
                    <a:pPr>
                      <a:defRPr sz="800">
                        <a:latin typeface="Nexa Book"/>
                      </a:defRPr>
                    </a:pPr>
                    <a:r>
                      <a:t>17</a:t>
                    </a:r>
                  </a:p>
                </c:rich>
              </c:tx>
              <c:dLblPos val="ctr"/>
              <c:showLegendKey val="0"/>
              <c:showVal val="1"/>
              <c:showCatName val="0"/>
              <c:showSerName val="0"/>
              <c:showPercent val="0"/>
              <c:showBubbleSize val="0"/>
            </c:dLbl>
            <c:dLbl>
              <c:idx val="3"/>
              <c:tx>
                <c:rich>
                  <a:bodyPr/>
                  <a:lstStyle/>
                  <a:p>
                    <a:pPr>
                      <a:defRPr sz="800">
                        <a:latin typeface="Nexa Book"/>
                      </a:defRPr>
                    </a:pPr>
                    <a:r>
                      <a:t>4</a:t>
                    </a:r>
                  </a:p>
                </c:rich>
              </c:tx>
              <c:dLblPos val="ctr"/>
              <c:showLegendKey val="0"/>
              <c:showVal val="1"/>
              <c:showCatName val="0"/>
              <c:showSerName val="0"/>
              <c:showPercent val="0"/>
              <c:showBubbleSize val="0"/>
            </c:dLbl>
            <c:dLbl>
              <c:idx val="4"/>
              <c:tx>
                <c:rich>
                  <a:bodyPr/>
                  <a:lstStyle/>
                  <a:p>
                    <a:pPr>
                      <a:defRPr sz="800">
                        <a:latin typeface="Nexa Book"/>
                      </a:defRPr>
                    </a:pPr>
                    <a:r>
                      <a:t>11</a:t>
                    </a:r>
                  </a:p>
                </c:rich>
              </c:tx>
              <c:dLblPos val="ctr"/>
              <c:showLegendKey val="0"/>
              <c:showVal val="1"/>
              <c:showCatName val="0"/>
              <c:showSerName val="0"/>
              <c:showPercent val="0"/>
              <c:showBubbleSize val="0"/>
            </c:dLbl>
            <c:dLbl>
              <c:idx val="5"/>
              <c:tx>
                <c:rich>
                  <a:bodyPr/>
                  <a:lstStyle/>
                  <a:p>
                    <a:pPr>
                      <a:defRPr sz="800">
                        <a:latin typeface="Nexa Book"/>
                      </a:defRPr>
                    </a:pPr>
                    <a:r>
                      <a:t>2</a:t>
                    </a:r>
                  </a:p>
                </c:rich>
              </c:tx>
              <c:dLblPos val="ctr"/>
              <c:showLegendKey val="0"/>
              <c:showVal val="1"/>
              <c:showCatName val="0"/>
              <c:showSerName val="0"/>
              <c:showPercent val="0"/>
              <c:showBubbleSize val="0"/>
            </c:dLbl>
            <c:dLbl>
              <c:idx val="6"/>
              <c:tx>
                <c:rich>
                  <a:bodyPr/>
                  <a:lstStyle/>
                  <a:p>
                    <a:pPr>
                      <a:defRPr sz="800">
                        <a:latin typeface="Nexa Book"/>
                      </a:defRPr>
                    </a:pPr>
                    <a:r>
                      <a:t>0.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5999599.0</c:v>
                </c:pt>
                <c:pt idx="1">
                  <c:v>2639116.0</c:v>
                </c:pt>
                <c:pt idx="2">
                  <c:v>1658769.0</c:v>
                </c:pt>
                <c:pt idx="3">
                  <c:v>395042.0</c:v>
                </c:pt>
                <c:pt idx="4">
                  <c:v>1118874.0</c:v>
                </c:pt>
                <c:pt idx="5">
                  <c:v>166410.0</c:v>
                </c:pt>
                <c:pt idx="6">
                  <c:v>21388.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1.3 %</a:t>
                    </a:r>
                  </a:p>
                </c:rich>
              </c:tx>
              <c:dLblPos val="ctr"/>
              <c:showLegendKey val="0"/>
              <c:showVal val="1"/>
              <c:showCatName val="0"/>
              <c:showSerName val="0"/>
              <c:showPercent val="0"/>
              <c:showBubbleSize val="0"/>
            </c:dLbl>
            <c:dLbl>
              <c:idx val="5"/>
              <c:tx>
                <c:rich>
                  <a:bodyPr/>
                  <a:lstStyle/>
                  <a:p>
                    <a:pPr>
                      <a:defRPr sz="800">
                        <a:latin typeface="Nexa Book"/>
                      </a:defRPr>
                    </a:pPr>
                    <a:r>
                      <a:t>-0.1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1355375036303863</c:v>
                </c:pt>
                <c:pt idx="2">
                  <c:v>0.0031109231152201128</c:v>
                </c:pt>
                <c:pt idx="3">
                  <c:v>-0.0041802996246443486</c:v>
                </c:pt>
                <c:pt idx="4">
                  <c:v>0.012531384449967181</c:v>
                </c:pt>
                <c:pt idx="5">
                  <c:v>-0.0008767990838201498</c:v>
                </c:pt>
                <c:pt idx="6">
                  <c:v>0.0029685415063157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2 %</a:t>
                    </a:r>
                  </a:p>
                </c:rich>
              </c:tx>
              <c:dLblPos val="ctr"/>
              <c:showLegendKey val="0"/>
              <c:showVal val="1"/>
              <c:showCatName val="0"/>
              <c:showSerName val="0"/>
              <c:showPercent val="0"/>
              <c:showBubbleSize val="0"/>
            </c:dLbl>
            <c:dLbl>
              <c:idx val="2"/>
              <c:tx>
                <c:rich>
                  <a:bodyPr/>
                  <a:lstStyle/>
                  <a:p>
                    <a:pPr>
                      <a:defRPr sz="800">
                        <a:latin typeface="Nexa Book"/>
                      </a:defRPr>
                    </a:pPr>
                    <a:r>
                      <a:t>5.6 %</a:t>
                    </a:r>
                  </a:p>
                </c:rich>
              </c:tx>
              <c:dLblPos val="ctr"/>
              <c:showLegendKey val="0"/>
              <c:showVal val="1"/>
              <c:showCatName val="0"/>
              <c:showSerName val="0"/>
              <c:showPercent val="0"/>
              <c:showBubbleSize val="0"/>
            </c:dLbl>
            <c:dLbl>
              <c:idx val="3"/>
              <c:tx>
                <c:rich>
                  <a:bodyPr/>
                  <a:lstStyle/>
                  <a:p>
                    <a:pPr>
                      <a:defRPr sz="800">
                        <a:latin typeface="Nexa Book"/>
                      </a:defRPr>
                    </a:pPr>
                    <a:r>
                      <a:t>-2.3 %</a:t>
                    </a:r>
                  </a:p>
                </c:rich>
              </c:tx>
              <c:dLblPos val="ctr"/>
              <c:showLegendKey val="0"/>
              <c:showVal val="1"/>
              <c:showCatName val="0"/>
              <c:showSerName val="0"/>
              <c:showPercent val="0"/>
              <c:showBubbleSize val="0"/>
            </c:dLbl>
            <c:dLbl>
              <c:idx val="4"/>
              <c:tx>
                <c:rich>
                  <a:bodyPr/>
                  <a:lstStyle/>
                  <a:p>
                    <a:pPr>
                      <a:defRPr sz="800">
                        <a:latin typeface="Nexa Book"/>
                      </a:defRPr>
                    </a:pPr>
                    <a:r>
                      <a:t>9.8 %</a:t>
                    </a:r>
                  </a:p>
                </c:rich>
              </c:tx>
              <c:dLblPos val="ctr"/>
              <c:showLegendKey val="0"/>
              <c:showVal val="1"/>
              <c:showCatName val="0"/>
              <c:showSerName val="0"/>
              <c:showPercent val="0"/>
              <c:showBubbleSize val="0"/>
            </c:dLbl>
            <c:dLbl>
              <c:idx val="5"/>
              <c:tx>
                <c:rich>
                  <a:bodyPr/>
                  <a:lstStyle/>
                  <a:p>
                    <a:pPr>
                      <a:defRPr sz="800">
                        <a:latin typeface="Nexa Book"/>
                      </a:defRPr>
                    </a:pPr>
                    <a:r>
                      <a:t>-0.3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1321516470337466</c:v>
                </c:pt>
                <c:pt idx="2">
                  <c:v>0.05598556966305915</c:v>
                </c:pt>
                <c:pt idx="3">
                  <c:v>-0.022801277750014268</c:v>
                </c:pt>
                <c:pt idx="4">
                  <c:v>0.09792334121237489</c:v>
                </c:pt>
                <c:pt idx="5">
                  <c:v>-0.0025208910128187885</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2650631800040215</c:v>
                </c:pt>
                <c:pt idx="1">
                  <c:v>0.025151036017587475</c:v>
                </c:pt>
                <c:pt idx="2">
                  <c:v>-0.023811953551038934</c:v>
                </c:pt>
                <c:pt idx="3">
                  <c:v>-0.013265740352979921</c:v>
                </c:pt>
                <c:pt idx="4">
                  <c:v>-0.012764569084787195</c:v>
                </c:pt>
                <c:pt idx="5">
                  <c:v>0.0062396363292070295</c:v>
                </c:pt>
                <c:pt idx="6">
                  <c:v>0.015978533010944478</c:v>
                </c:pt>
                <c:pt idx="7">
                  <c:v>-0.00017144237870539002</c:v>
                </c:pt>
                <c:pt idx="8">
                  <c:v>-6.1317902676824916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091232020498088</c:v>
                </c:pt>
                <c:pt idx="1">
                  <c:v>0.18357435409670594</c:v>
                </c:pt>
                <c:pt idx="2">
                  <c:v>0.00730244385348525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9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2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6290317844643674</c:v>
                </c:pt>
                <c:pt idx="2">
                  <c:v>0.11238722161519277</c:v>
                </c:pt>
                <c:pt idx="3">
                  <c:v>0.11229339323452638</c:v>
                </c:pt>
                <c:pt idx="4">
                  <c:v>0.08514934548344764</c:v>
                </c:pt>
                <c:pt idx="5">
                  <c:v>0.04150280480052275</c:v>
                </c:pt>
                <c:pt idx="6">
                  <c:v>0.0196354504019430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4.6 %</a:t>
                    </a:r>
                  </a:p>
                </c:rich>
              </c:tx>
              <c:dLblPos val="ctr"/>
              <c:showLegendKey val="0"/>
              <c:showVal val="1"/>
              <c:showCatName val="0"/>
              <c:showSerName val="0"/>
              <c:showPercent val="0"/>
              <c:showBubbleSize val="0"/>
            </c:dLbl>
            <c:dLbl>
              <c:idx val="2"/>
              <c:tx>
                <c:rich>
                  <a:bodyPr/>
                  <a:lstStyle/>
                  <a:p>
                    <a:pPr>
                      <a:defRPr sz="800">
                        <a:latin typeface="Nexa Book"/>
                      </a:defRPr>
                    </a:pPr>
                    <a:r>
                      <a:t>43.5 %</a:t>
                    </a:r>
                  </a:p>
                </c:rich>
              </c:tx>
              <c:dLblPos val="ctr"/>
              <c:showLegendKey val="0"/>
              <c:showVal val="1"/>
              <c:showCatName val="0"/>
              <c:showSerName val="0"/>
              <c:showPercent val="0"/>
              <c:showBubbleSize val="0"/>
            </c:dLbl>
            <c:dLbl>
              <c:idx val="3"/>
              <c:tx>
                <c:rich>
                  <a:bodyPr/>
                  <a:lstStyle/>
                  <a:p>
                    <a:pPr>
                      <a:defRPr sz="800">
                        <a:latin typeface="Nexa Book"/>
                      </a:defRPr>
                    </a:pPr>
                    <a:r>
                      <a:t>7.7 %</a:t>
                    </a:r>
                  </a:p>
                </c:rich>
              </c:tx>
              <c:dLblPos val="ctr"/>
              <c:showLegendKey val="0"/>
              <c:showVal val="1"/>
              <c:showCatName val="0"/>
              <c:showSerName val="0"/>
              <c:showPercent val="0"/>
              <c:showBubbleSize val="0"/>
            </c:dLbl>
            <c:dLbl>
              <c:idx val="4"/>
              <c:tx>
                <c:rich>
                  <a:bodyPr/>
                  <a:lstStyle/>
                  <a:p>
                    <a:pPr>
                      <a:defRPr sz="800">
                        <a:latin typeface="Nexa Book"/>
                      </a:defRPr>
                    </a:pPr>
                    <a:r>
                      <a:t>0.3 %</a:t>
                    </a:r>
                  </a:p>
                </c:rich>
              </c:tx>
              <c:dLblPos val="ctr"/>
              <c:showLegendKey val="0"/>
              <c:showVal val="1"/>
              <c:showCatName val="0"/>
              <c:showSerName val="0"/>
              <c:showPercent val="0"/>
              <c:showBubbleSize val="0"/>
            </c:dLbl>
            <c:dLbl>
              <c:idx val="5"/>
              <c:tx>
                <c:rich>
                  <a:bodyPr/>
                  <a:lstStyle/>
                  <a:p>
                    <a:pPr>
                      <a:defRPr sz="800">
                        <a:latin typeface="Nexa Book"/>
                      </a:defRPr>
                    </a:pPr>
                    <a:r>
                      <a:t>3.2 %</a:t>
                    </a:r>
                  </a:p>
                </c:rich>
              </c:tx>
              <c:dLblPos val="ctr"/>
              <c:showLegendKey val="0"/>
              <c:showVal val="1"/>
              <c:showCatName val="0"/>
              <c:showSerName val="0"/>
              <c:showPercent val="0"/>
              <c:showBubbleSize val="0"/>
            </c:dLbl>
            <c:dLbl>
              <c:idx val="6"/>
              <c:tx>
                <c:rich>
                  <a:bodyPr/>
                  <a:lstStyle/>
                  <a:p>
                    <a:pPr>
                      <a:defRPr sz="800">
                        <a:latin typeface="Nexa Book"/>
                      </a:defRPr>
                    </a:pPr>
                    <a:r>
                      <a:t>0.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44598981415403655</c:v>
                </c:pt>
                <c:pt idx="2">
                  <c:v>0.4351236193704637</c:v>
                </c:pt>
                <c:pt idx="3">
                  <c:v>0.07670067666440086</c:v>
                </c:pt>
                <c:pt idx="4">
                  <c:v>0.003167382557106722</c:v>
                </c:pt>
                <c:pt idx="5">
                  <c:v>0.031520054354826216</c:v>
                </c:pt>
                <c:pt idx="6">
                  <c:v>0.00749845289916597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362</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43</a:t>
                    </a:r>
                  </a:p>
                </c:rich>
              </c:tx>
              <c:dLblPos val="ctr"/>
              <c:showLegendKey val="0"/>
              <c:showVal val="1"/>
              <c:showCatName val="0"/>
              <c:showSerName val="0"/>
              <c:showPercent val="0"/>
              <c:showBubbleSize val="0"/>
            </c:dLbl>
            <c:dLbl>
              <c:idx val="4"/>
              <c:tx>
                <c:rich>
                  <a:bodyPr/>
                  <a:lstStyle/>
                  <a:p>
                    <a:pPr>
                      <a:defRPr sz="800">
                        <a:latin typeface="Nexa Book"/>
                      </a:defRPr>
                    </a:pPr>
                    <a:r>
                      <a:t>184</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216597578.0</c:v>
                </c:pt>
                <c:pt idx="1">
                  <c:v>136246761.0</c:v>
                </c:pt>
                <c:pt idx="2">
                  <c:v>24342800.0</c:v>
                </c:pt>
                <c:pt idx="3">
                  <c:v>24322477.0</c:v>
                </c:pt>
                <c:pt idx="4">
                  <c:v>18443142.0</c:v>
                </c:pt>
                <c:pt idx="5">
                  <c:v>8989407.0</c:v>
                </c:pt>
                <c:pt idx="6">
                  <c:v>42529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99</a:t>
                    </a:r>
                  </a:p>
                </c:rich>
              </c:tx>
              <c:dLblPos val="ctr"/>
              <c:showLegendKey val="0"/>
              <c:showVal val="1"/>
              <c:showCatName val="0"/>
              <c:showSerName val="0"/>
              <c:showPercent val="0"/>
              <c:showBubbleSize val="0"/>
            </c:dLbl>
            <c:dLbl>
              <c:idx val="1"/>
              <c:tx>
                <c:rich>
                  <a:bodyPr/>
                  <a:lstStyle/>
                  <a:p>
                    <a:pPr>
                      <a:defRPr sz="800">
                        <a:latin typeface="Nexa Book"/>
                      </a:defRPr>
                    </a:pPr>
                    <a:r>
                      <a:t>44</a:t>
                    </a:r>
                  </a:p>
                </c:rich>
              </c:tx>
              <c:dLblPos val="ctr"/>
              <c:showLegendKey val="0"/>
              <c:showVal val="1"/>
              <c:showCatName val="0"/>
              <c:showSerName val="0"/>
              <c:showPercent val="0"/>
              <c:showBubbleSize val="0"/>
            </c:dLbl>
            <c:dLbl>
              <c:idx val="2"/>
              <c:tx>
                <c:rich>
                  <a:bodyPr/>
                  <a:lstStyle/>
                  <a:p>
                    <a:pPr>
                      <a:defRPr sz="800">
                        <a:latin typeface="Nexa Book"/>
                      </a:defRPr>
                    </a:pPr>
                    <a:r>
                      <a:t>43</a:t>
                    </a:r>
                  </a:p>
                </c:rich>
              </c:tx>
              <c:dLblPos val="ctr"/>
              <c:showLegendKey val="0"/>
              <c:showVal val="1"/>
              <c:showCatName val="0"/>
              <c:showSerName val="0"/>
              <c:showPercent val="0"/>
              <c:showBubbleSize val="0"/>
            </c:dLbl>
            <c:dLbl>
              <c:idx val="3"/>
              <c:tx>
                <c:rich>
                  <a:bodyPr/>
                  <a:lstStyle/>
                  <a:p>
                    <a:pPr>
                      <a:defRPr sz="800">
                        <a:latin typeface="Nexa Book"/>
                      </a:defRPr>
                    </a:pPr>
                    <a:r>
                      <a:t>8</a:t>
                    </a:r>
                  </a:p>
                </c:rich>
              </c:tx>
              <c:dLblPos val="ctr"/>
              <c:showLegendKey val="0"/>
              <c:showVal val="1"/>
              <c:showCatName val="0"/>
              <c:showSerName val="0"/>
              <c:showPercent val="0"/>
              <c:showBubbleSize val="0"/>
            </c:dLbl>
            <c:dLbl>
              <c:idx val="4"/>
              <c:tx>
                <c:rich>
                  <a:bodyPr/>
                  <a:lstStyle/>
                  <a:p>
                    <a:pPr>
                      <a:defRPr sz="800">
                        <a:latin typeface="Nexa Book"/>
                      </a:defRPr>
                    </a:pPr>
                    <a:r>
                      <a:t>0.3</a:t>
                    </a:r>
                  </a:p>
                </c:rich>
              </c:tx>
              <c:dLblPos val="ctr"/>
              <c:showLegendKey val="0"/>
              <c:showVal val="1"/>
              <c:showCatName val="0"/>
              <c:showSerName val="0"/>
              <c:showPercent val="0"/>
              <c:showBubbleSize val="0"/>
            </c:dLbl>
            <c:dLbl>
              <c:idx val="5"/>
              <c:tx>
                <c:rich>
                  <a:bodyPr/>
                  <a:lstStyle/>
                  <a:p>
                    <a:pPr>
                      <a:defRPr sz="800">
                        <a:latin typeface="Nexa Book"/>
                      </a:defRPr>
                    </a:pPr>
                    <a:r>
                      <a:t>3</a:t>
                    </a:r>
                  </a:p>
                </c:rich>
              </c:tx>
              <c:dLblPos val="ctr"/>
              <c:showLegendKey val="0"/>
              <c:showVal val="1"/>
              <c:showCatName val="0"/>
              <c:showSerName val="0"/>
              <c:showPercent val="0"/>
              <c:showBubbleSize val="0"/>
            </c:dLbl>
            <c:dLbl>
              <c:idx val="6"/>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9852299.0</c:v>
                </c:pt>
                <c:pt idx="1">
                  <c:v>4394025.0</c:v>
                </c:pt>
                <c:pt idx="2">
                  <c:v>4286968.0</c:v>
                </c:pt>
                <c:pt idx="3">
                  <c:v>755678.0</c:v>
                </c:pt>
                <c:pt idx="4">
                  <c:v>31206.0</c:v>
                </c:pt>
                <c:pt idx="5">
                  <c:v>310545.0</c:v>
                </c:pt>
                <c:pt idx="6">
                  <c:v>7387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1.3 %</a:t>
                    </a:r>
                  </a:p>
                </c:rich>
              </c:tx>
              <c:dLblPos val="ctr"/>
              <c:showLegendKey val="0"/>
              <c:showVal val="1"/>
              <c:showCatName val="0"/>
              <c:showSerName val="0"/>
              <c:showPercent val="0"/>
              <c:showBubbleSize val="0"/>
            </c:dLbl>
            <c:dLbl>
              <c:idx val="5"/>
              <c:tx>
                <c:rich>
                  <a:bodyPr/>
                  <a:lstStyle/>
                  <a:p>
                    <a:pPr>
                      <a:defRPr sz="800">
                        <a:latin typeface="Nexa Book"/>
                      </a:defRPr>
                    </a:pPr>
                    <a:r>
                      <a:t>-0.1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1355375036303863</c:v>
                </c:pt>
                <c:pt idx="2">
                  <c:v>0.0031109231152201128</c:v>
                </c:pt>
                <c:pt idx="3">
                  <c:v>-0.0041802996246443486</c:v>
                </c:pt>
                <c:pt idx="4">
                  <c:v>0.012531384449967181</c:v>
                </c:pt>
                <c:pt idx="5">
                  <c:v>-0.0008767990838201498</c:v>
                </c:pt>
                <c:pt idx="6">
                  <c:v>0.0029685415063157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8 %</a:t>
                    </a:r>
                  </a:p>
                </c:rich>
              </c:tx>
              <c:dLblPos val="ctr"/>
              <c:showLegendKey val="0"/>
              <c:showVal val="1"/>
              <c:showCatName val="0"/>
              <c:showSerName val="0"/>
              <c:showPercent val="0"/>
              <c:showBubbleSize val="0"/>
            </c:dLbl>
            <c:dLbl>
              <c:idx val="2"/>
              <c:tx>
                <c:rich>
                  <a:bodyPr/>
                  <a:lstStyle/>
                  <a:p>
                    <a:pPr>
                      <a:defRPr sz="800">
                        <a:latin typeface="Nexa Book"/>
                      </a:defRPr>
                    </a:pPr>
                    <a:r>
                      <a:t>-5.0 %</a:t>
                    </a:r>
                  </a:p>
                </c:rich>
              </c:tx>
              <c:dLblPos val="ctr"/>
              <c:showLegendKey val="0"/>
              <c:showVal val="1"/>
              <c:showCatName val="0"/>
              <c:showSerName val="0"/>
              <c:showPercent val="0"/>
              <c:showBubbleSize val="0"/>
            </c:dLbl>
            <c:dLbl>
              <c:idx val="3"/>
              <c:tx>
                <c:rich>
                  <a:bodyPr/>
                  <a:lstStyle/>
                  <a:p>
                    <a:pPr>
                      <a:defRPr sz="800">
                        <a:latin typeface="Nexa Book"/>
                      </a:defRPr>
                    </a:pPr>
                    <a:r>
                      <a:t>0.3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3806152333550861</c:v>
                </c:pt>
                <c:pt idx="2">
                  <c:v>-0.050212917541097635</c:v>
                </c:pt>
                <c:pt idx="3">
                  <c:v>0.002970386165088365</c:v>
                </c:pt>
                <c:pt idx="4">
                  <c:v>0.00141549563957887</c:v>
                </c:pt>
                <c:pt idx="5">
                  <c:v>0.005464512455677983</c:v>
                </c:pt>
                <c:pt idx="6">
                  <c:v>0.00230099994524384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13673678051219329</c:v>
                </c:pt>
                <c:pt idx="1">
                  <c:v>-0.009456324052946968</c:v>
                </c:pt>
                <c:pt idx="2">
                  <c:v>-0.004217353998272355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062833627734534</c:v>
                </c:pt>
                <c:pt idx="1">
                  <c:v>0.18357435409670594</c:v>
                </c:pt>
                <c:pt idx="2">
                  <c:v>0.10283983927635537</c:v>
                </c:pt>
                <c:pt idx="3">
                  <c:v>0.00730244385348525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6.7 %</a:t>
                    </a:r>
                  </a:p>
                </c:rich>
              </c:tx>
              <c:dLblPos val="ctr"/>
              <c:showLegendKey val="0"/>
              <c:showVal val="1"/>
              <c:showCatName val="0"/>
              <c:showSerName val="0"/>
              <c:showPercent val="0"/>
              <c:showBubbleSize val="0"/>
            </c:dLbl>
            <c:dLbl>
              <c:idx val="2"/>
              <c:tx>
                <c:rich>
                  <a:bodyPr/>
                  <a:lstStyle/>
                  <a:p>
                    <a:pPr>
                      <a:defRPr sz="800">
                        <a:latin typeface="Nexa Book"/>
                      </a:defRPr>
                    </a:pPr>
                    <a:r>
                      <a:t>10.9 %</a:t>
                    </a:r>
                  </a:p>
                </c:rich>
              </c:tx>
              <c:dLblPos val="ctr"/>
              <c:showLegendKey val="0"/>
              <c:showVal val="1"/>
              <c:showCatName val="0"/>
              <c:showSerName val="0"/>
              <c:showPercent val="0"/>
              <c:showBubbleSize val="0"/>
            </c:dLbl>
            <c:dLbl>
              <c:idx val="3"/>
              <c:tx>
                <c:rich>
                  <a:bodyPr/>
                  <a:lstStyle/>
                  <a:p>
                    <a:pPr>
                      <a:defRPr sz="800">
                        <a:latin typeface="Nexa Book"/>
                      </a:defRPr>
                    </a:pPr>
                    <a:r>
                      <a:t>7.2 %</a:t>
                    </a:r>
                  </a:p>
                </c:rich>
              </c:tx>
              <c:dLblPos val="ctr"/>
              <c:showLegendKey val="0"/>
              <c:showVal val="1"/>
              <c:showCatName val="0"/>
              <c:showSerName val="0"/>
              <c:showPercent val="0"/>
              <c:showBubbleSize val="0"/>
            </c:dLbl>
            <c:dLbl>
              <c:idx val="4"/>
              <c:tx>
                <c:rich>
                  <a:bodyPr/>
                  <a:lstStyle/>
                  <a:p>
                    <a:pPr>
                      <a:defRPr sz="800">
                        <a:latin typeface="Nexa Book"/>
                      </a:defRPr>
                    </a:pPr>
                    <a:r>
                      <a:t>3.6 %</a:t>
                    </a:r>
                  </a:p>
                </c:rich>
              </c:tx>
              <c:dLblPos val="ctr"/>
              <c:showLegendKey val="0"/>
              <c:showVal val="1"/>
              <c:showCatName val="0"/>
              <c:showSerName val="0"/>
              <c:showPercent val="0"/>
              <c:showBubbleSize val="0"/>
            </c:dLbl>
            <c:dLbl>
              <c:idx val="5"/>
              <c:tx>
                <c:rich>
                  <a:bodyPr/>
                  <a:lstStyle/>
                  <a:p>
                    <a:pPr>
                      <a:defRPr sz="800">
                        <a:latin typeface="Nexa Book"/>
                      </a:defRPr>
                    </a:pPr>
                    <a:r>
                      <a:t>1.5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1.0</c:v>
                </c:pt>
                <c:pt idx="1">
                  <c:v>0.7672058956777429</c:v>
                </c:pt>
                <c:pt idx="2">
                  <c:v>0.10927122872344752</c:v>
                </c:pt>
                <c:pt idx="3">
                  <c:v>0.07225829581115922</c:v>
                </c:pt>
                <c:pt idx="4">
                  <c:v>0.03592787326907319</c:v>
                </c:pt>
                <c:pt idx="5">
                  <c:v>0.015282846267414463</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8.8 %</a:t>
                    </a:r>
                  </a:p>
                </c:rich>
              </c:tx>
              <c:dLblPos val="ctr"/>
              <c:showLegendKey val="0"/>
              <c:showVal val="1"/>
              <c:showCatName val="0"/>
              <c:showSerName val="0"/>
              <c:showPercent val="0"/>
              <c:showBubbleSize val="0"/>
            </c:dLbl>
            <c:dLbl>
              <c:idx val="2"/>
              <c:tx>
                <c:rich>
                  <a:bodyPr/>
                  <a:lstStyle/>
                  <a:p>
                    <a:pPr>
                      <a:defRPr sz="800">
                        <a:latin typeface="Nexa Book"/>
                      </a:defRPr>
                    </a:pPr>
                    <a:r>
                      <a:t>10.1 %</a:t>
                    </a:r>
                  </a:p>
                </c:rich>
              </c:tx>
              <c:dLblPos val="ctr"/>
              <c:showLegendKey val="0"/>
              <c:showVal val="1"/>
              <c:showCatName val="0"/>
              <c:showSerName val="0"/>
              <c:showPercent val="0"/>
              <c:showBubbleSize val="0"/>
            </c:dLbl>
            <c:dLbl>
              <c:idx val="3"/>
              <c:tx>
                <c:rich>
                  <a:bodyPr/>
                  <a:lstStyle/>
                  <a:p>
                    <a:pPr>
                      <a:defRPr sz="800">
                        <a:latin typeface="Nexa Book"/>
                      </a:defRPr>
                    </a:pPr>
                    <a:r>
                      <a:t>23.5 %</a:t>
                    </a:r>
                  </a:p>
                </c:rich>
              </c:tx>
              <c:dLblPos val="ctr"/>
              <c:showLegendKey val="0"/>
              <c:showVal val="1"/>
              <c:showCatName val="0"/>
              <c:showSerName val="0"/>
              <c:showPercent val="0"/>
              <c:showBubbleSize val="0"/>
            </c:dLbl>
            <c:dLbl>
              <c:idx val="4"/>
              <c:tx>
                <c:rich>
                  <a:bodyPr/>
                  <a:lstStyle/>
                  <a:p>
                    <a:pPr>
                      <a:defRPr sz="800">
                        <a:latin typeface="Nexa Book"/>
                      </a:defRPr>
                    </a:pPr>
                    <a:r>
                      <a:t>2.4 %</a:t>
                    </a:r>
                  </a:p>
                </c:rich>
              </c:tx>
              <c:dLblPos val="ctr"/>
              <c:showLegendKey val="0"/>
              <c:showVal val="1"/>
              <c:showCatName val="0"/>
              <c:showSerName val="0"/>
              <c:showPercent val="0"/>
              <c:showBubbleSize val="0"/>
            </c:dLbl>
            <c:dLbl>
              <c:idx val="5"/>
              <c:tx>
                <c:rich>
                  <a:bodyPr/>
                  <a:lstStyle/>
                  <a:p>
                    <a:pPr>
                      <a:defRPr sz="800">
                        <a:latin typeface="Nexa Book"/>
                      </a:defRPr>
                    </a:pPr>
                    <a:r>
                      <a:t>5.1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1.0</c:v>
                </c:pt>
                <c:pt idx="1">
                  <c:v>0.5881861824253809</c:v>
                </c:pt>
                <c:pt idx="2">
                  <c:v>0.10063014978481478</c:v>
                </c:pt>
                <c:pt idx="3">
                  <c:v>0.2349941855264335</c:v>
                </c:pt>
                <c:pt idx="4">
                  <c:v>0.02391388615558935</c:v>
                </c:pt>
                <c:pt idx="5">
                  <c:v>0.051321426086610805</c:v>
                </c:pt>
                <c:pt idx="6">
                  <c:v>0.000954170021170647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08783493100776418</c:v>
                </c:pt>
                <c:pt idx="1">
                  <c:v>-0.007587607470215585</c:v>
                </c:pt>
                <c:pt idx="2">
                  <c:v>-0.001195885630560755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6</a:t>
                    </a:r>
                  </a:p>
                </c:rich>
              </c:tx>
              <c:dLblPos val="ctr"/>
              <c:showLegendKey val="0"/>
              <c:showVal val="1"/>
              <c:showCatName val="0"/>
              <c:showSerName val="0"/>
              <c:showPercent val="0"/>
              <c:showBubbleSize val="0"/>
            </c:dLbl>
            <c:dLbl>
              <c:idx val="1"/>
              <c:tx>
                <c:rich>
                  <a:bodyPr/>
                  <a:lstStyle/>
                  <a:p>
                    <a:pPr>
                      <a:defRPr sz="800">
                        <a:latin typeface="Nexa Book"/>
                      </a:defRPr>
                    </a:pPr>
                    <a:r>
                      <a:t>27</a:t>
                    </a:r>
                  </a:p>
                </c:rich>
              </c:tx>
              <c:dLblPos val="ctr"/>
              <c:showLegendKey val="0"/>
              <c:showVal val="1"/>
              <c:showCatName val="0"/>
              <c:showSerName val="0"/>
              <c:showPercent val="0"/>
              <c:showBubbleSize val="0"/>
            </c:dLbl>
            <c:dLbl>
              <c:idx val="2"/>
              <c:tx>
                <c:rich>
                  <a:bodyPr/>
                  <a:lstStyle/>
                  <a:p>
                    <a:pPr>
                      <a:defRPr sz="800">
                        <a:latin typeface="Nexa Book"/>
                      </a:defRPr>
                    </a:pPr>
                    <a:r>
                      <a:t>4</a:t>
                    </a:r>
                  </a:p>
                </c:rich>
              </c:tx>
              <c:dLblPos val="ctr"/>
              <c:showLegendKey val="0"/>
              <c:showVal val="1"/>
              <c:showCatName val="0"/>
              <c:showSerName val="0"/>
              <c:showPercent val="0"/>
              <c:showBubbleSize val="0"/>
            </c:dLbl>
            <c:dLbl>
              <c:idx val="3"/>
              <c:tx>
                <c:rich>
                  <a:bodyPr/>
                  <a:lstStyle/>
                  <a:p>
                    <a:pPr>
                      <a:defRPr sz="800">
                        <a:latin typeface="Nexa Book"/>
                      </a:defRPr>
                    </a:pPr>
                    <a:r>
                      <a:t>3</a:t>
                    </a:r>
                  </a:p>
                </c:rich>
              </c:tx>
              <c:dLblPos val="ctr"/>
              <c:showLegendKey val="0"/>
              <c:showVal val="1"/>
              <c:showCatName val="0"/>
              <c:showSerName val="0"/>
              <c:showPercent val="0"/>
              <c:showBubbleSize val="0"/>
            </c:dLbl>
            <c:dLbl>
              <c:idx val="4"/>
              <c:tx>
                <c:rich>
                  <a:bodyPr/>
                  <a:lstStyle/>
                  <a:p>
                    <a:pPr>
                      <a:defRPr sz="800">
                        <a:latin typeface="Nexa Book"/>
                      </a:defRPr>
                    </a:pPr>
                    <a:r>
                      <a:t>1</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3564781.0</c:v>
                </c:pt>
                <c:pt idx="1">
                  <c:v>2734921.0</c:v>
                </c:pt>
                <c:pt idx="2">
                  <c:v>389528.0</c:v>
                </c:pt>
                <c:pt idx="3">
                  <c:v>257585.0</c:v>
                </c:pt>
                <c:pt idx="4">
                  <c:v>128075.0</c:v>
                </c:pt>
                <c:pt idx="5">
                  <c:v>54480.0</c:v>
                </c:pt>
                <c:pt idx="6">
                  <c:v>19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dLbl>
              <c:idx val="3"/>
              <c:tx>
                <c:rich>
                  <a:bodyPr/>
                  <a:lstStyle/>
                  <a:p>
                    <a:pPr>
                      <a:defRPr sz="800">
                        <a:latin typeface="Nexa Book"/>
                      </a:defRPr>
                    </a:pPr>
                    <a:r>
                      <a:t>0.5</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1</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201222.0</c:v>
                </c:pt>
                <c:pt idx="1">
                  <c:v>118356.0</c:v>
                </c:pt>
                <c:pt idx="2">
                  <c:v>20249.0</c:v>
                </c:pt>
                <c:pt idx="3">
                  <c:v>47286.0</c:v>
                </c:pt>
                <c:pt idx="4">
                  <c:v>4812.0</c:v>
                </c:pt>
                <c:pt idx="5">
                  <c:v>10327.0</c:v>
                </c:pt>
                <c:pt idx="6">
                  <c:v>19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3.8 %</a:t>
                    </a:r>
                  </a:p>
                </c:rich>
              </c:tx>
              <c:dLblPos val="ctr"/>
              <c:showLegendKey val="0"/>
              <c:showVal val="1"/>
              <c:showCatName val="0"/>
              <c:showSerName val="0"/>
              <c:showPercent val="0"/>
              <c:showBubbleSize val="0"/>
            </c:dLbl>
            <c:dLbl>
              <c:idx val="4"/>
              <c:tx>
                <c:rich>
                  <a:bodyPr/>
                  <a:lstStyle/>
                  <a:p>
                    <a:pPr>
                      <a:defRPr sz="800">
                        <a:latin typeface="Nexa Book"/>
                      </a:defRPr>
                    </a:pPr>
                    <a:r>
                      <a:t>-4.0 %</a:t>
                    </a:r>
                  </a:p>
                </c:rich>
              </c:tx>
              <c:dLblPos val="ctr"/>
              <c:showLegendKey val="0"/>
              <c:showVal val="1"/>
              <c:showCatName val="0"/>
              <c:showSerName val="0"/>
              <c:showPercent val="0"/>
              <c:showBubbleSize val="0"/>
            </c:dLbl>
            <c:dLbl>
              <c:idx val="5"/>
              <c:tx>
                <c:rich>
                  <a:bodyPr/>
                  <a:lstStyle/>
                  <a:p>
                    <a:pPr>
                      <a:defRPr sz="800">
                        <a:latin typeface="Nexa Book"/>
                      </a:defRPr>
                    </a:pPr>
                    <a:r>
                      <a:t>0.2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0.0</c:v>
                </c:pt>
                <c:pt idx="1">
                  <c:v>0.021597550992372816</c:v>
                </c:pt>
                <c:pt idx="2">
                  <c:v>-0.0033503277990795527</c:v>
                </c:pt>
                <c:pt idx="3">
                  <c:v>0.038441421951655036</c:v>
                </c:pt>
                <c:pt idx="4">
                  <c:v>-0.03991175723777045</c:v>
                </c:pt>
                <c:pt idx="5">
                  <c:v>0.00155898264957691</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6.1 %</a:t>
                    </a:r>
                  </a:p>
                </c:rich>
              </c:tx>
              <c:dLblPos val="ctr"/>
              <c:showLegendKey val="0"/>
              <c:showVal val="1"/>
              <c:showCatName val="0"/>
              <c:showSerName val="0"/>
              <c:showPercent val="0"/>
              <c:showBubbleSize val="0"/>
            </c:dLbl>
            <c:dLbl>
              <c:idx val="2"/>
              <c:tx>
                <c:rich>
                  <a:bodyPr/>
                  <a:lstStyle/>
                  <a:p>
                    <a:pPr>
                      <a:defRPr sz="800">
                        <a:latin typeface="Nexa Book"/>
                      </a:defRPr>
                    </a:pPr>
                    <a:r>
                      <a:t>-0.1 %</a:t>
                    </a:r>
                  </a:p>
                </c:rich>
              </c:tx>
              <c:dLblPos val="ctr"/>
              <c:showLegendKey val="0"/>
              <c:showVal val="1"/>
              <c:showCatName val="0"/>
              <c:showSerName val="0"/>
              <c:showPercent val="0"/>
              <c:showBubbleSize val="0"/>
            </c:dLbl>
            <c:dLbl>
              <c:idx val="3"/>
              <c:tx>
                <c:rich>
                  <a:bodyPr/>
                  <a:lstStyle/>
                  <a:p>
                    <a:pPr>
                      <a:defRPr sz="800">
                        <a:latin typeface="Nexa Book"/>
                      </a:defRPr>
                    </a:pPr>
                    <a:r>
                      <a:t>18.2 %</a:t>
                    </a:r>
                  </a:p>
                </c:rich>
              </c:tx>
              <c:dLblPos val="ctr"/>
              <c:showLegendKey val="0"/>
              <c:showVal val="1"/>
              <c:showCatName val="0"/>
              <c:showSerName val="0"/>
              <c:showPercent val="0"/>
              <c:showBubbleSize val="0"/>
            </c:dLbl>
            <c:dLbl>
              <c:idx val="4"/>
              <c:tx>
                <c:rich>
                  <a:bodyPr/>
                  <a:lstStyle/>
                  <a:p>
                    <a:pPr>
                      <a:defRPr sz="800">
                        <a:latin typeface="Nexa Book"/>
                      </a:defRPr>
                    </a:pPr>
                    <a:r>
                      <a:t>2.3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15.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0.0</c:v>
                </c:pt>
                <c:pt idx="1">
                  <c:v>-0.06090260986788876</c:v>
                </c:pt>
                <c:pt idx="2">
                  <c:v>-0.0007287521214507514</c:v>
                </c:pt>
                <c:pt idx="3">
                  <c:v>0.18184598744688185</c:v>
                </c:pt>
                <c:pt idx="4">
                  <c:v>0.022763674426235104</c:v>
                </c:pt>
                <c:pt idx="5">
                  <c:v>0.007256471853504344</c:v>
                </c:pt>
                <c:pt idx="6">
                  <c:v>-0.150234771737281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5.1 %</a:t>
                    </a:r>
                  </a:p>
                </c:rich>
              </c:tx>
              <c:dLblPos val="ctr"/>
              <c:showLegendKey val="0"/>
              <c:showVal val="1"/>
              <c:showCatName val="0"/>
              <c:showSerName val="0"/>
              <c:showPercent val="0"/>
              <c:showBubbleSize val="0"/>
            </c:dLbl>
            <c:dLbl>
              <c:idx val="2"/>
              <c:tx>
                <c:rich>
                  <a:bodyPr/>
                  <a:lstStyle/>
                  <a:p>
                    <a:pPr>
                      <a:defRPr sz="800">
                        <a:latin typeface="Nexa Book"/>
                      </a:defRPr>
                    </a:pPr>
                    <a:r>
                      <a:t>20.8 %</a:t>
                    </a:r>
                  </a:p>
                </c:rich>
              </c:tx>
              <c:dLblPos val="ctr"/>
              <c:showLegendKey val="0"/>
              <c:showVal val="1"/>
              <c:showCatName val="0"/>
              <c:showSerName val="0"/>
              <c:showPercent val="0"/>
              <c:showBubbleSize val="0"/>
            </c:dLbl>
            <c:dLbl>
              <c:idx val="3"/>
              <c:tx>
                <c:rich>
                  <a:bodyPr/>
                  <a:lstStyle/>
                  <a:p>
                    <a:pPr>
                      <a:defRPr sz="800">
                        <a:latin typeface="Nexa Book"/>
                      </a:defRPr>
                    </a:pPr>
                    <a:r>
                      <a:t>17.1 %</a:t>
                    </a:r>
                  </a:p>
                </c:rich>
              </c:tx>
              <c:dLblPos val="ctr"/>
              <c:showLegendKey val="0"/>
              <c:showVal val="1"/>
              <c:showCatName val="0"/>
              <c:showSerName val="0"/>
              <c:showPercent val="0"/>
              <c:showBubbleSize val="0"/>
            </c:dLbl>
            <c:dLbl>
              <c:idx val="4"/>
              <c:tx>
                <c:rich>
                  <a:bodyPr/>
                  <a:lstStyle/>
                  <a:p>
                    <a:pPr>
                      <a:defRPr sz="800">
                        <a:latin typeface="Nexa Book"/>
                      </a:defRPr>
                    </a:pPr>
                    <a:r>
                      <a:t>9.0 %</a:t>
                    </a:r>
                  </a:p>
                </c:rich>
              </c:tx>
              <c:dLblPos val="ctr"/>
              <c:showLegendKey val="0"/>
              <c:showVal val="1"/>
              <c:showCatName val="0"/>
              <c:showSerName val="0"/>
              <c:showPercent val="0"/>
              <c:showBubbleSize val="0"/>
            </c:dLbl>
            <c:dLbl>
              <c:idx val="5"/>
              <c:tx>
                <c:rich>
                  <a:bodyPr/>
                  <a:lstStyle/>
                  <a:p>
                    <a:pPr>
                      <a:defRPr sz="800">
                        <a:latin typeface="Nexa Book"/>
                      </a:defRPr>
                    </a:pPr>
                    <a:r>
                      <a:t>5.9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0</c:v>
                </c:pt>
                <c:pt idx="1">
                  <c:v>0.4511670413765337</c:v>
                </c:pt>
                <c:pt idx="2">
                  <c:v>0.207816285515271</c:v>
                </c:pt>
                <c:pt idx="3">
                  <c:v>0.17144363359729117</c:v>
                </c:pt>
                <c:pt idx="4">
                  <c:v>0.09028093363101364</c:v>
                </c:pt>
                <c:pt idx="5">
                  <c:v>0.058962931109775574</c:v>
                </c:pt>
                <c:pt idx="6">
                  <c:v>0.020329174770114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6.7 %</a:t>
                    </a:r>
                  </a:p>
                </c:rich>
              </c:tx>
              <c:dLblPos val="ctr"/>
              <c:showLegendKey val="0"/>
              <c:showVal val="1"/>
              <c:showCatName val="0"/>
              <c:showSerName val="0"/>
              <c:showPercent val="0"/>
              <c:showBubbleSize val="0"/>
            </c:dLbl>
            <c:dLbl>
              <c:idx val="2"/>
              <c:tx>
                <c:rich>
                  <a:bodyPr/>
                  <a:lstStyle/>
                  <a:p>
                    <a:pPr>
                      <a:defRPr sz="800">
                        <a:latin typeface="Nexa Book"/>
                      </a:defRPr>
                    </a:pPr>
                    <a:r>
                      <a:t>16.4 %</a:t>
                    </a:r>
                  </a:p>
                </c:rich>
              </c:tx>
              <c:dLblPos val="ctr"/>
              <c:showLegendKey val="0"/>
              <c:showVal val="1"/>
              <c:showCatName val="0"/>
              <c:showSerName val="0"/>
              <c:showPercent val="0"/>
              <c:showBubbleSize val="0"/>
            </c:dLbl>
            <c:dLbl>
              <c:idx val="3"/>
              <c:tx>
                <c:rich>
                  <a:bodyPr/>
                  <a:lstStyle/>
                  <a:p>
                    <a:pPr>
                      <a:defRPr sz="800">
                        <a:latin typeface="Nexa Book"/>
                      </a:defRPr>
                    </a:pPr>
                    <a:r>
                      <a:t>16.4 %</a:t>
                    </a:r>
                  </a:p>
                </c:rich>
              </c:tx>
              <c:dLblPos val="ctr"/>
              <c:showLegendKey val="0"/>
              <c:showVal val="1"/>
              <c:showCatName val="0"/>
              <c:showSerName val="0"/>
              <c:showPercent val="0"/>
              <c:showBubbleSize val="0"/>
            </c:dLbl>
            <c:dLbl>
              <c:idx val="4"/>
              <c:tx>
                <c:rich>
                  <a:bodyPr/>
                  <a:lstStyle/>
                  <a:p>
                    <a:pPr>
                      <a:defRPr sz="800">
                        <a:latin typeface="Nexa Book"/>
                      </a:defRPr>
                    </a:pPr>
                    <a:r>
                      <a:t>11.8 %</a:t>
                    </a:r>
                  </a:p>
                </c:rich>
              </c:tx>
              <c:dLblPos val="ctr"/>
              <c:showLegendKey val="0"/>
              <c:showVal val="1"/>
              <c:showCatName val="0"/>
              <c:showSerName val="0"/>
              <c:showPercent val="0"/>
              <c:showBubbleSize val="0"/>
            </c:dLbl>
            <c:dLbl>
              <c:idx val="5"/>
              <c:tx>
                <c:rich>
                  <a:bodyPr/>
                  <a:lstStyle/>
                  <a:p>
                    <a:pPr>
                      <a:defRPr sz="800">
                        <a:latin typeface="Nexa Book"/>
                      </a:defRPr>
                    </a:pPr>
                    <a:r>
                      <a:t>6.4 %</a:t>
                    </a:r>
                  </a:p>
                </c:rich>
              </c:tx>
              <c:dLblPos val="ctr"/>
              <c:showLegendKey val="0"/>
              <c:showVal val="1"/>
              <c:showCatName val="0"/>
              <c:showSerName val="0"/>
              <c:showPercent val="0"/>
              <c:showBubbleSize val="0"/>
            </c:dLbl>
            <c:dLbl>
              <c:idx val="6"/>
              <c:tx>
                <c:rich>
                  <a:bodyPr/>
                  <a:lstStyle/>
                  <a:p>
                    <a:pPr>
                      <a:defRPr sz="800">
                        <a:latin typeface="Nexa Book"/>
                      </a:defRPr>
                    </a:pPr>
                    <a:r>
                      <a:t>2.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0</c:v>
                </c:pt>
                <c:pt idx="1">
                  <c:v>0.4669733388437039</c:v>
                </c:pt>
                <c:pt idx="2">
                  <c:v>0.16352734994401477</c:v>
                </c:pt>
                <c:pt idx="3">
                  <c:v>0.16418384361624794</c:v>
                </c:pt>
                <c:pt idx="4">
                  <c:v>0.11817737527785566</c:v>
                </c:pt>
                <c:pt idx="5">
                  <c:v>0.06367775333750585</c:v>
                </c:pt>
                <c:pt idx="6">
                  <c:v>0.0234603389806719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33</a:t>
                    </a:r>
                  </a:p>
                </c:rich>
              </c:tx>
              <c:dLblPos val="ctr"/>
              <c:showLegendKey val="0"/>
              <c:showVal val="1"/>
              <c:showCatName val="0"/>
              <c:showSerName val="0"/>
              <c:showPercent val="0"/>
              <c:showBubbleSize val="0"/>
            </c:dLbl>
            <c:dLbl>
              <c:idx val="1"/>
              <c:tx>
                <c:rich>
                  <a:bodyPr/>
                  <a:lstStyle/>
                  <a:p>
                    <a:pPr>
                      <a:defRPr sz="800">
                        <a:latin typeface="Nexa Book"/>
                      </a:defRPr>
                    </a:pPr>
                    <a:r>
                      <a:t>692</a:t>
                    </a:r>
                  </a:p>
                </c:rich>
              </c:tx>
              <c:dLblPos val="ctr"/>
              <c:showLegendKey val="0"/>
              <c:showVal val="1"/>
              <c:showCatName val="0"/>
              <c:showSerName val="0"/>
              <c:showPercent val="0"/>
              <c:showBubbleSize val="0"/>
            </c:dLbl>
            <c:dLbl>
              <c:idx val="2"/>
              <c:tx>
                <c:rich>
                  <a:bodyPr/>
                  <a:lstStyle/>
                  <a:p>
                    <a:pPr>
                      <a:defRPr sz="800">
                        <a:latin typeface="Nexa Book"/>
                      </a:defRPr>
                    </a:pPr>
                    <a:r>
                      <a:t>319</a:t>
                    </a:r>
                  </a:p>
                </c:rich>
              </c:tx>
              <c:dLblPos val="ctr"/>
              <c:showLegendKey val="0"/>
              <c:showVal val="1"/>
              <c:showCatName val="0"/>
              <c:showSerName val="0"/>
              <c:showPercent val="0"/>
              <c:showBubbleSize val="0"/>
            </c:dLbl>
            <c:dLbl>
              <c:idx val="3"/>
              <c:tx>
                <c:rich>
                  <a:bodyPr/>
                  <a:lstStyle/>
                  <a:p>
                    <a:pPr>
                      <a:defRPr sz="800">
                        <a:latin typeface="Nexa Book"/>
                      </a:defRPr>
                    </a:pPr>
                    <a:r>
                      <a:t>263</a:t>
                    </a:r>
                  </a:p>
                </c:rich>
              </c:tx>
              <c:dLblPos val="ctr"/>
              <c:showLegendKey val="0"/>
              <c:showVal val="1"/>
              <c:showCatName val="0"/>
              <c:showSerName val="0"/>
              <c:showPercent val="0"/>
              <c:showBubbleSize val="0"/>
            </c:dLbl>
            <c:dLbl>
              <c:idx val="4"/>
              <c:tx>
                <c:rich>
                  <a:bodyPr/>
                  <a:lstStyle/>
                  <a:p>
                    <a:pPr>
                      <a:defRPr sz="800">
                        <a:latin typeface="Nexa Book"/>
                      </a:defRPr>
                    </a:pPr>
                    <a:r>
                      <a:t>138</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3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53286596.0</c:v>
                </c:pt>
                <c:pt idx="1">
                  <c:v>69157860.0</c:v>
                </c:pt>
                <c:pt idx="2">
                  <c:v>31855451.0</c:v>
                </c:pt>
                <c:pt idx="3">
                  <c:v>26280011.0</c:v>
                </c:pt>
                <c:pt idx="4">
                  <c:v>13838857.0</c:v>
                </c:pt>
                <c:pt idx="5">
                  <c:v>9038227.0</c:v>
                </c:pt>
                <c:pt idx="6">
                  <c:v>311619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81</a:t>
                    </a:r>
                  </a:p>
                </c:rich>
              </c:tx>
              <c:dLblPos val="ctr"/>
              <c:showLegendKey val="0"/>
              <c:showVal val="1"/>
              <c:showCatName val="0"/>
              <c:showSerName val="0"/>
              <c:showPercent val="0"/>
              <c:showBubbleSize val="0"/>
            </c:dLbl>
            <c:dLbl>
              <c:idx val="1"/>
              <c:tx>
                <c:rich>
                  <a:bodyPr/>
                  <a:lstStyle/>
                  <a:p>
                    <a:pPr>
                      <a:defRPr sz="800">
                        <a:latin typeface="Nexa Book"/>
                      </a:defRPr>
                    </a:pPr>
                    <a:r>
                      <a:t>271</a:t>
                    </a:r>
                  </a:p>
                </c:rich>
              </c:tx>
              <c:dLblPos val="ctr"/>
              <c:showLegendKey val="0"/>
              <c:showVal val="1"/>
              <c:showCatName val="0"/>
              <c:showSerName val="0"/>
              <c:showPercent val="0"/>
              <c:showBubbleSize val="0"/>
            </c:dLbl>
            <c:dLbl>
              <c:idx val="2"/>
              <c:tx>
                <c:rich>
                  <a:bodyPr/>
                  <a:lstStyle/>
                  <a:p>
                    <a:pPr>
                      <a:defRPr sz="800">
                        <a:latin typeface="Nexa Book"/>
                      </a:defRPr>
                    </a:pPr>
                    <a:r>
                      <a:t>95</a:t>
                    </a:r>
                  </a:p>
                </c:rich>
              </c:tx>
              <c:dLblPos val="ctr"/>
              <c:showLegendKey val="0"/>
              <c:showVal val="1"/>
              <c:showCatName val="0"/>
              <c:showSerName val="0"/>
              <c:showPercent val="0"/>
              <c:showBubbleSize val="0"/>
            </c:dLbl>
            <c:dLbl>
              <c:idx val="3"/>
              <c:tx>
                <c:rich>
                  <a:bodyPr/>
                  <a:lstStyle/>
                  <a:p>
                    <a:pPr>
                      <a:defRPr sz="800">
                        <a:latin typeface="Nexa Book"/>
                      </a:defRPr>
                    </a:pPr>
                    <a:r>
                      <a:t>95</a:t>
                    </a:r>
                  </a:p>
                </c:rich>
              </c:tx>
              <c:dLblPos val="ctr"/>
              <c:showLegendKey val="0"/>
              <c:showVal val="1"/>
              <c:showCatName val="0"/>
              <c:showSerName val="0"/>
              <c:showPercent val="0"/>
              <c:showBubbleSize val="0"/>
            </c:dLbl>
            <c:dLbl>
              <c:idx val="4"/>
              <c:tx>
                <c:rich>
                  <a:bodyPr/>
                  <a:lstStyle/>
                  <a:p>
                    <a:pPr>
                      <a:defRPr sz="800">
                        <a:latin typeface="Nexa Book"/>
                      </a:defRPr>
                    </a:pPr>
                    <a:r>
                      <a:t>69</a:t>
                    </a:r>
                  </a:p>
                </c:rich>
              </c:tx>
              <c:dLblPos val="ctr"/>
              <c:showLegendKey val="0"/>
              <c:showVal val="1"/>
              <c:showCatName val="0"/>
              <c:showSerName val="0"/>
              <c:showPercent val="0"/>
              <c:showBubbleSize val="0"/>
            </c:dLbl>
            <c:dLbl>
              <c:idx val="5"/>
              <c:tx>
                <c:rich>
                  <a:bodyPr/>
                  <a:lstStyle/>
                  <a:p>
                    <a:pPr>
                      <a:defRPr sz="800">
                        <a:latin typeface="Nexa Book"/>
                      </a:defRPr>
                    </a:pPr>
                    <a:r>
                      <a:t>37</a:t>
                    </a:r>
                  </a:p>
                </c:rich>
              </c:tx>
              <c:dLblPos val="ctr"/>
              <c:showLegendKey val="0"/>
              <c:showVal val="1"/>
              <c:showCatName val="0"/>
              <c:showSerName val="0"/>
              <c:showPercent val="0"/>
              <c:showBubbleSize val="0"/>
            </c:dLbl>
            <c:dLbl>
              <c:idx val="6"/>
              <c:tx>
                <c:rich>
                  <a:bodyPr/>
                  <a:lstStyle/>
                  <a:p>
                    <a:pPr>
                      <a:defRPr sz="800">
                        <a:latin typeface="Nexa Book"/>
                      </a:defRPr>
                    </a:pPr>
                    <a:r>
                      <a:t>1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58137651.0</c:v>
                </c:pt>
                <c:pt idx="1">
                  <c:v>27148733.0</c:v>
                </c:pt>
                <c:pt idx="2">
                  <c:v>9507096.0</c:v>
                </c:pt>
                <c:pt idx="3">
                  <c:v>9545263.0</c:v>
                </c:pt>
                <c:pt idx="4">
                  <c:v>6870555.0</c:v>
                </c:pt>
                <c:pt idx="5">
                  <c:v>3702075.0</c:v>
                </c:pt>
                <c:pt idx="6">
                  <c:v>136392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8 %</a:t>
                    </a:r>
                  </a:p>
                </c:rich>
              </c:tx>
              <c:dLblPos val="ctr"/>
              <c:showLegendKey val="0"/>
              <c:showVal val="1"/>
              <c:showCatName val="0"/>
              <c:showSerName val="0"/>
              <c:showPercent val="0"/>
              <c:showBubbleSize val="0"/>
            </c:dLbl>
            <c:dLbl>
              <c:idx val="2"/>
              <c:tx>
                <c:rich>
                  <a:bodyPr/>
                  <a:lstStyle/>
                  <a:p>
                    <a:pPr>
                      <a:defRPr sz="800">
                        <a:latin typeface="Nexa Book"/>
                      </a:defRPr>
                    </a:pPr>
                    <a:r>
                      <a:t>1.1 %</a:t>
                    </a:r>
                  </a:p>
                </c:rich>
              </c:tx>
              <c:dLblPos val="ctr"/>
              <c:showLegendKey val="0"/>
              <c:showVal val="1"/>
              <c:showCatName val="0"/>
              <c:showSerName val="0"/>
              <c:showPercent val="0"/>
              <c:showBubbleSize val="0"/>
            </c:dLbl>
            <c:dLbl>
              <c:idx val="3"/>
              <c:tx>
                <c:rich>
                  <a:bodyPr/>
                  <a:lstStyle/>
                  <a:p>
                    <a:pPr>
                      <a:defRPr sz="800">
                        <a:latin typeface="Nexa Book"/>
                      </a:defRPr>
                    </a:pPr>
                    <a:r>
                      <a:t>-2.6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2 %</a:t>
                    </a:r>
                  </a:p>
                </c:rich>
              </c:tx>
              <c:dLblPos val="ctr"/>
              <c:showLegendKey val="0"/>
              <c:showVal val="1"/>
              <c:showCatName val="0"/>
              <c:showSerName val="0"/>
              <c:showPercent val="0"/>
              <c:showBubbleSize val="0"/>
            </c:dLbl>
            <c:dLbl>
              <c:idx val="6"/>
              <c:tx>
                <c:rich>
                  <a:bodyPr/>
                  <a:lstStyle/>
                  <a:p>
                    <a:pPr>
                      <a:defRPr sz="800">
                        <a:latin typeface="Nexa Book"/>
                      </a:defRPr>
                    </a:pPr>
                    <a:r>
                      <a:t>-0.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0.0</c:v>
                </c:pt>
                <c:pt idx="1">
                  <c:v>0.018438547611986156</c:v>
                </c:pt>
                <c:pt idx="2">
                  <c:v>0.010713415491737932</c:v>
                </c:pt>
                <c:pt idx="3">
                  <c:v>-0.025569276498935367</c:v>
                </c:pt>
                <c:pt idx="4">
                  <c:v>-0.0011501841778058935</c:v>
                </c:pt>
                <c:pt idx="5">
                  <c:v>-0.0021815149774160186</c:v>
                </c:pt>
                <c:pt idx="6">
                  <c:v>-0.000250987449566798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 %</a:t>
                    </a:r>
                  </a:p>
                </c:rich>
              </c:tx>
              <c:dLblPos val="ctr"/>
              <c:showLegendKey val="0"/>
              <c:showVal val="1"/>
              <c:showCatName val="0"/>
              <c:showSerName val="0"/>
              <c:showPercent val="0"/>
              <c:showBubbleSize val="0"/>
            </c:dLbl>
            <c:dLbl>
              <c:idx val="2"/>
              <c:tx>
                <c:rich>
                  <a:bodyPr/>
                  <a:lstStyle/>
                  <a:p>
                    <a:pPr>
                      <a:defRPr sz="800">
                        <a:latin typeface="Nexa Book"/>
                      </a:defRPr>
                    </a:pPr>
                    <a:r>
                      <a:t>3.8 %</a:t>
                    </a:r>
                  </a:p>
                </c:rich>
              </c:tx>
              <c:dLblPos val="ctr"/>
              <c:showLegendKey val="0"/>
              <c:showVal val="1"/>
              <c:showCatName val="0"/>
              <c:showSerName val="0"/>
              <c:showPercent val="0"/>
              <c:showBubbleSize val="0"/>
            </c:dLbl>
            <c:dLbl>
              <c:idx val="3"/>
              <c:tx>
                <c:rich>
                  <a:bodyPr/>
                  <a:lstStyle/>
                  <a:p>
                    <a:pPr>
                      <a:defRPr sz="800">
                        <a:latin typeface="Nexa Book"/>
                      </a:defRPr>
                    </a:pPr>
                    <a:r>
                      <a:t>-0.7 %</a:t>
                    </a:r>
                  </a:p>
                </c:rich>
              </c:tx>
              <c:dLblPos val="ctr"/>
              <c:showLegendKey val="0"/>
              <c:showVal val="1"/>
              <c:showCatName val="0"/>
              <c:showSerName val="0"/>
              <c:showPercent val="0"/>
              <c:showBubbleSize val="0"/>
            </c:dLbl>
            <c:dLbl>
              <c:idx val="4"/>
              <c:tx>
                <c:rich>
                  <a:bodyPr/>
                  <a:lstStyle/>
                  <a:p>
                    <a:pPr>
                      <a:defRPr sz="800">
                        <a:latin typeface="Nexa Book"/>
                      </a:defRPr>
                    </a:pPr>
                    <a:r>
                      <a:t>0.4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0.0</c:v>
                </c:pt>
                <c:pt idx="1">
                  <c:v>-0.02483474789189044</c:v>
                </c:pt>
                <c:pt idx="2">
                  <c:v>0.03784825738196779</c:v>
                </c:pt>
                <c:pt idx="3">
                  <c:v>-0.006955979578679661</c:v>
                </c:pt>
                <c:pt idx="4">
                  <c:v>0.003653778218001419</c:v>
                </c:pt>
                <c:pt idx="5">
                  <c:v>-0.007203897388477015</c:v>
                </c:pt>
                <c:pt idx="6">
                  <c:v>-0.00250741074092205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9405634617557901</c:v>
                </c:pt>
                <c:pt idx="1">
                  <c:v>-0.007587607470215585</c:v>
                </c:pt>
                <c:pt idx="2">
                  <c:v>0.10283983927635537</c:v>
                </c:pt>
                <c:pt idx="3">
                  <c:v>-0.001195885630560755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3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dLbl>
              <c:idx val="3"/>
              <c:tx>
                <c:rich>
                  <a:bodyPr/>
                  <a:lstStyle/>
                  <a:p>
                    <a:pPr>
                      <a:defRPr sz="800">
                        <a:latin typeface="Nexa Book"/>
                      </a:defRPr>
                    </a:pPr>
                    <a:r>
                      <a:t>10.5 %</a:t>
                    </a:r>
                  </a:p>
                </c:rich>
              </c:tx>
              <c:dLblPos val="ctr"/>
              <c:showLegendKey val="0"/>
              <c:showVal val="1"/>
              <c:showCatName val="0"/>
              <c:showSerName val="0"/>
              <c:showPercent val="0"/>
              <c:showBubbleSize val="0"/>
            </c:dLbl>
            <c:dLbl>
              <c:idx val="4"/>
              <c:tx>
                <c:rich>
                  <a:bodyPr/>
                  <a:lstStyle/>
                  <a:p>
                    <a:pPr>
                      <a:defRPr sz="800">
                        <a:latin typeface="Nexa Book"/>
                      </a:defRPr>
                    </a:pPr>
                    <a:r>
                      <a:t>4.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1.0</c:v>
                </c:pt>
                <c:pt idx="1">
                  <c:v>0.6933140364607413</c:v>
                </c:pt>
                <c:pt idx="2">
                  <c:v>0.1618433590828081</c:v>
                </c:pt>
                <c:pt idx="3">
                  <c:v>0.10518516282851076</c:v>
                </c:pt>
                <c:pt idx="4">
                  <c:v>0.039657441627939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00.0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1.0</c:v>
                </c:pt>
                <c:pt idx="1">
                  <c:v>0.0</c:v>
                </c:pt>
                <c:pt idx="2">
                  <c:v>1.0</c:v>
                </c:pt>
                <c:pt idx="3">
                  <c:v>0.0</c:v>
                </c:pt>
                <c:pt idx="4">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35</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dLbl>
              <c:idx val="3"/>
              <c:tx>
                <c:rich>
                  <a:bodyPr/>
                  <a:lstStyle/>
                  <a:p>
                    <a:pPr>
                      <a:defRPr sz="800">
                        <a:latin typeface="Nexa Book"/>
                      </a:defRPr>
                    </a:pPr>
                    <a:r>
                      <a:t>36</a:t>
                    </a:r>
                  </a:p>
                </c:rich>
              </c:tx>
              <c:dLblPos val="ctr"/>
              <c:showLegendKey val="0"/>
              <c:showVal val="1"/>
              <c:showCatName val="0"/>
              <c:showSerName val="0"/>
              <c:showPercent val="0"/>
              <c:showBubbleSize val="0"/>
            </c:dLbl>
            <c:dLbl>
              <c:idx val="4"/>
              <c:tx>
                <c:rich>
                  <a:bodyPr/>
                  <a:lstStyle/>
                  <a:p>
                    <a:pPr>
                      <a:defRPr sz="800">
                        <a:latin typeface="Nexa Book"/>
                      </a:defRPr>
                    </a:pPr>
                    <a:r>
                      <a:t>1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33861791.0</c:v>
                </c:pt>
                <c:pt idx="1">
                  <c:v>23476855.0</c:v>
                </c:pt>
                <c:pt idx="2">
                  <c:v>5480306.0</c:v>
                </c:pt>
                <c:pt idx="3">
                  <c:v>3561758.0</c:v>
                </c:pt>
                <c:pt idx="4">
                  <c:v>134287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3</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324121.0</c:v>
                </c:pt>
                <c:pt idx="1">
                  <c:v>0.0</c:v>
                </c:pt>
                <c:pt idx="2">
                  <c:v>324121.0</c:v>
                </c:pt>
                <c:pt idx="3">
                  <c:v>0.0</c:v>
                </c:pt>
                <c:pt idx="4">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dLbl>
              <c:idx val="3"/>
              <c:tx>
                <c:rich>
                  <a:bodyPr/>
                  <a:lstStyle/>
                  <a:p>
                    <a:pPr>
                      <a:defRPr sz="800">
                        <a:latin typeface="Nexa Book"/>
                      </a:defRPr>
                    </a:pPr>
                    <a:r>
                      <a:t>-0.2 %</a:t>
                    </a:r>
                  </a:p>
                </c:rich>
              </c:tx>
              <c:dLblPos val="ctr"/>
              <c:showLegendKey val="0"/>
              <c:showVal val="1"/>
              <c:showCatName val="0"/>
              <c:showSerName val="0"/>
              <c:showPercent val="0"/>
              <c:showBubbleSize val="0"/>
            </c:dLbl>
            <c:dLbl>
              <c:idx val="4"/>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0.0</c:v>
                </c:pt>
                <c:pt idx="1">
                  <c:v>0.01327882912712497</c:v>
                </c:pt>
                <c:pt idx="2">
                  <c:v>-0.013430089040203846</c:v>
                </c:pt>
                <c:pt idx="3">
                  <c:v>-0.0021950786546539452</c:v>
                </c:pt>
                <c:pt idx="4">
                  <c:v>0.0023463385677328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0.0</c:v>
                </c:pt>
                <c:pt idx="1">
                  <c:v>0.0</c:v>
                </c:pt>
                <c:pt idx="2">
                  <c:v>0.0</c:v>
                </c:pt>
                <c:pt idx="3">
                  <c:v>0.0</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9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2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6290317844643674</c:v>
                </c:pt>
                <c:pt idx="2">
                  <c:v>0.11238722161519277</c:v>
                </c:pt>
                <c:pt idx="3">
                  <c:v>0.11229339323452638</c:v>
                </c:pt>
                <c:pt idx="4">
                  <c:v>0.08514934548344764</c:v>
                </c:pt>
                <c:pt idx="5">
                  <c:v>0.04150280480052275</c:v>
                </c:pt>
                <c:pt idx="6">
                  <c:v>0.0196354504019430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4.0 %</a:t>
                    </a:r>
                  </a:p>
                </c:rich>
              </c:tx>
              <c:dLblPos val="ctr"/>
              <c:showLegendKey val="0"/>
              <c:showVal val="1"/>
              <c:showCatName val="0"/>
              <c:showSerName val="0"/>
              <c:showPercent val="0"/>
              <c:showBubbleSize val="0"/>
            </c:dLbl>
            <c:dLbl>
              <c:idx val="2"/>
              <c:tx>
                <c:rich>
                  <a:bodyPr/>
                  <a:lstStyle/>
                  <a:p>
                    <a:pPr>
                      <a:defRPr sz="800">
                        <a:latin typeface="Nexa Book"/>
                      </a:defRPr>
                    </a:pPr>
                    <a:r>
                      <a:t>27.6 %</a:t>
                    </a:r>
                  </a:p>
                </c:rich>
              </c:tx>
              <c:dLblPos val="ctr"/>
              <c:showLegendKey val="0"/>
              <c:showVal val="1"/>
              <c:showCatName val="0"/>
              <c:showSerName val="0"/>
              <c:showPercent val="0"/>
              <c:showBubbleSize val="0"/>
            </c:dLbl>
            <c:dLbl>
              <c:idx val="3"/>
              <c:tx>
                <c:rich>
                  <a:bodyPr/>
                  <a:lstStyle/>
                  <a:p>
                    <a:pPr>
                      <a:defRPr sz="800">
                        <a:latin typeface="Nexa Book"/>
                      </a:defRPr>
                    </a:pPr>
                    <a:r>
                      <a:t>6.6 %</a:t>
                    </a:r>
                  </a:p>
                </c:rich>
              </c:tx>
              <c:dLblPos val="ctr"/>
              <c:showLegendKey val="0"/>
              <c:showVal val="1"/>
              <c:showCatName val="0"/>
              <c:showSerName val="0"/>
              <c:showPercent val="0"/>
              <c:showBubbleSize val="0"/>
            </c:dLbl>
            <c:dLbl>
              <c:idx val="4"/>
              <c:tx>
                <c:rich>
                  <a:bodyPr/>
                  <a:lstStyle/>
                  <a:p>
                    <a:pPr>
                      <a:defRPr sz="800">
                        <a:latin typeface="Nexa Book"/>
                      </a:defRPr>
                    </a:pPr>
                    <a:r>
                      <a:t>18.6 %</a:t>
                    </a:r>
                  </a:p>
                </c:rich>
              </c:tx>
              <c:dLblPos val="ctr"/>
              <c:showLegendKey val="0"/>
              <c:showVal val="1"/>
              <c:showCatName val="0"/>
              <c:showSerName val="0"/>
              <c:showPercent val="0"/>
              <c:showBubbleSize val="0"/>
            </c:dLbl>
            <c:dLbl>
              <c:idx val="5"/>
              <c:tx>
                <c:rich>
                  <a:bodyPr/>
                  <a:lstStyle/>
                  <a:p>
                    <a:pPr>
                      <a:defRPr sz="800">
                        <a:latin typeface="Nexa Book"/>
                      </a:defRPr>
                    </a:pPr>
                    <a:r>
                      <a:t>2.8 %</a:t>
                    </a:r>
                  </a:p>
                </c:rich>
              </c:tx>
              <c:dLblPos val="ctr"/>
              <c:showLegendKey val="0"/>
              <c:showVal val="1"/>
              <c:showCatName val="0"/>
              <c:showSerName val="0"/>
              <c:showPercent val="0"/>
              <c:showBubbleSize val="0"/>
            </c:dLbl>
            <c:dLbl>
              <c:idx val="6"/>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4398820654513743</c:v>
                </c:pt>
                <c:pt idx="2">
                  <c:v>0.2764799780785349</c:v>
                </c:pt>
                <c:pt idx="3">
                  <c:v>0.06584473395638608</c:v>
                </c:pt>
                <c:pt idx="4">
                  <c:v>0.18649146384616705</c:v>
                </c:pt>
                <c:pt idx="5">
                  <c:v>0.02773685374639205</c:v>
                </c:pt>
                <c:pt idx="6">
                  <c:v>0.00356490492114556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362</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43</a:t>
                    </a:r>
                  </a:p>
                </c:rich>
              </c:tx>
              <c:dLblPos val="ctr"/>
              <c:showLegendKey val="0"/>
              <c:showVal val="1"/>
              <c:showCatName val="0"/>
              <c:showSerName val="0"/>
              <c:showPercent val="0"/>
              <c:showBubbleSize val="0"/>
            </c:dLbl>
            <c:dLbl>
              <c:idx val="4"/>
              <c:tx>
                <c:rich>
                  <a:bodyPr/>
                  <a:lstStyle/>
                  <a:p>
                    <a:pPr>
                      <a:defRPr sz="800">
                        <a:latin typeface="Nexa Book"/>
                      </a:defRPr>
                    </a:pPr>
                    <a:r>
                      <a:t>184</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216597578.0</c:v>
                </c:pt>
                <c:pt idx="1">
                  <c:v>136246761.0</c:v>
                </c:pt>
                <c:pt idx="2">
                  <c:v>24342800.0</c:v>
                </c:pt>
                <c:pt idx="3">
                  <c:v>24322477.0</c:v>
                </c:pt>
                <c:pt idx="4">
                  <c:v>18443142.0</c:v>
                </c:pt>
                <c:pt idx="5">
                  <c:v>8989407.0</c:v>
                </c:pt>
                <c:pt idx="6">
                  <c:v>42529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0</a:t>
                    </a:r>
                  </a:p>
                </c:rich>
              </c:tx>
              <c:dLblPos val="ctr"/>
              <c:showLegendKey val="0"/>
              <c:showVal val="1"/>
              <c:showCatName val="0"/>
              <c:showSerName val="0"/>
              <c:showPercent val="0"/>
              <c:showBubbleSize val="0"/>
            </c:dLbl>
            <c:dLbl>
              <c:idx val="1"/>
              <c:tx>
                <c:rich>
                  <a:bodyPr/>
                  <a:lstStyle/>
                  <a:p>
                    <a:pPr>
                      <a:defRPr sz="800">
                        <a:latin typeface="Nexa Book"/>
                      </a:defRPr>
                    </a:pPr>
                    <a:r>
                      <a:t>26</a:t>
                    </a:r>
                  </a:p>
                </c:rich>
              </c:tx>
              <c:dLblPos val="ctr"/>
              <c:showLegendKey val="0"/>
              <c:showVal val="1"/>
              <c:showCatName val="0"/>
              <c:showSerName val="0"/>
              <c:showPercent val="0"/>
              <c:showBubbleSize val="0"/>
            </c:dLbl>
            <c:dLbl>
              <c:idx val="2"/>
              <c:tx>
                <c:rich>
                  <a:bodyPr/>
                  <a:lstStyle/>
                  <a:p>
                    <a:pPr>
                      <a:defRPr sz="800">
                        <a:latin typeface="Nexa Book"/>
                      </a:defRPr>
                    </a:pPr>
                    <a:r>
                      <a:t>17</a:t>
                    </a:r>
                  </a:p>
                </c:rich>
              </c:tx>
              <c:dLblPos val="ctr"/>
              <c:showLegendKey val="0"/>
              <c:showVal val="1"/>
              <c:showCatName val="0"/>
              <c:showSerName val="0"/>
              <c:showPercent val="0"/>
              <c:showBubbleSize val="0"/>
            </c:dLbl>
            <c:dLbl>
              <c:idx val="3"/>
              <c:tx>
                <c:rich>
                  <a:bodyPr/>
                  <a:lstStyle/>
                  <a:p>
                    <a:pPr>
                      <a:defRPr sz="800">
                        <a:latin typeface="Nexa Book"/>
                      </a:defRPr>
                    </a:pPr>
                    <a:r>
                      <a:t>4</a:t>
                    </a:r>
                  </a:p>
                </c:rich>
              </c:tx>
              <c:dLblPos val="ctr"/>
              <c:showLegendKey val="0"/>
              <c:showVal val="1"/>
              <c:showCatName val="0"/>
              <c:showSerName val="0"/>
              <c:showPercent val="0"/>
              <c:showBubbleSize val="0"/>
            </c:dLbl>
            <c:dLbl>
              <c:idx val="4"/>
              <c:tx>
                <c:rich>
                  <a:bodyPr/>
                  <a:lstStyle/>
                  <a:p>
                    <a:pPr>
                      <a:defRPr sz="800">
                        <a:latin typeface="Nexa Book"/>
                      </a:defRPr>
                    </a:pPr>
                    <a:r>
                      <a:t>11</a:t>
                    </a:r>
                  </a:p>
                </c:rich>
              </c:tx>
              <c:dLblPos val="ctr"/>
              <c:showLegendKey val="0"/>
              <c:showVal val="1"/>
              <c:showCatName val="0"/>
              <c:showSerName val="0"/>
              <c:showPercent val="0"/>
              <c:showBubbleSize val="0"/>
            </c:dLbl>
            <c:dLbl>
              <c:idx val="5"/>
              <c:tx>
                <c:rich>
                  <a:bodyPr/>
                  <a:lstStyle/>
                  <a:p>
                    <a:pPr>
                      <a:defRPr sz="800">
                        <a:latin typeface="Nexa Book"/>
                      </a:defRPr>
                    </a:pPr>
                    <a:r>
                      <a:t>2</a:t>
                    </a:r>
                  </a:p>
                </c:rich>
              </c:tx>
              <c:dLblPos val="ctr"/>
              <c:showLegendKey val="0"/>
              <c:showVal val="1"/>
              <c:showCatName val="0"/>
              <c:showSerName val="0"/>
              <c:showPercent val="0"/>
              <c:showBubbleSize val="0"/>
            </c:dLbl>
            <c:dLbl>
              <c:idx val="6"/>
              <c:tx>
                <c:rich>
                  <a:bodyPr/>
                  <a:lstStyle/>
                  <a:p>
                    <a:pPr>
                      <a:defRPr sz="800">
                        <a:latin typeface="Nexa Book"/>
                      </a:defRPr>
                    </a:pPr>
                    <a:r>
                      <a:t>0.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5999599.0</c:v>
                </c:pt>
                <c:pt idx="1">
                  <c:v>2639116.0</c:v>
                </c:pt>
                <c:pt idx="2">
                  <c:v>1658769.0</c:v>
                </c:pt>
                <c:pt idx="3">
                  <c:v>395042.0</c:v>
                </c:pt>
                <c:pt idx="4">
                  <c:v>1118874.0</c:v>
                </c:pt>
                <c:pt idx="5">
                  <c:v>166410.0</c:v>
                </c:pt>
                <c:pt idx="6">
                  <c:v>21388.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1.3 %</a:t>
                    </a:r>
                  </a:p>
                </c:rich>
              </c:tx>
              <c:dLblPos val="ctr"/>
              <c:showLegendKey val="0"/>
              <c:showVal val="1"/>
              <c:showCatName val="0"/>
              <c:showSerName val="0"/>
              <c:showPercent val="0"/>
              <c:showBubbleSize val="0"/>
            </c:dLbl>
            <c:dLbl>
              <c:idx val="5"/>
              <c:tx>
                <c:rich>
                  <a:bodyPr/>
                  <a:lstStyle/>
                  <a:p>
                    <a:pPr>
                      <a:defRPr sz="800">
                        <a:latin typeface="Nexa Book"/>
                      </a:defRPr>
                    </a:pPr>
                    <a:r>
                      <a:t>-0.1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1355375036303863</c:v>
                </c:pt>
                <c:pt idx="2">
                  <c:v>0.0031109231152201128</c:v>
                </c:pt>
                <c:pt idx="3">
                  <c:v>-0.0041802996246443486</c:v>
                </c:pt>
                <c:pt idx="4">
                  <c:v>0.012531384449967181</c:v>
                </c:pt>
                <c:pt idx="5">
                  <c:v>-0.0008767990838201498</c:v>
                </c:pt>
                <c:pt idx="6">
                  <c:v>0.0029685415063157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2 %</a:t>
                    </a:r>
                  </a:p>
                </c:rich>
              </c:tx>
              <c:dLblPos val="ctr"/>
              <c:showLegendKey val="0"/>
              <c:showVal val="1"/>
              <c:showCatName val="0"/>
              <c:showSerName val="0"/>
              <c:showPercent val="0"/>
              <c:showBubbleSize val="0"/>
            </c:dLbl>
            <c:dLbl>
              <c:idx val="2"/>
              <c:tx>
                <c:rich>
                  <a:bodyPr/>
                  <a:lstStyle/>
                  <a:p>
                    <a:pPr>
                      <a:defRPr sz="800">
                        <a:latin typeface="Nexa Book"/>
                      </a:defRPr>
                    </a:pPr>
                    <a:r>
                      <a:t>5.6 %</a:t>
                    </a:r>
                  </a:p>
                </c:rich>
              </c:tx>
              <c:dLblPos val="ctr"/>
              <c:showLegendKey val="0"/>
              <c:showVal val="1"/>
              <c:showCatName val="0"/>
              <c:showSerName val="0"/>
              <c:showPercent val="0"/>
              <c:showBubbleSize val="0"/>
            </c:dLbl>
            <c:dLbl>
              <c:idx val="3"/>
              <c:tx>
                <c:rich>
                  <a:bodyPr/>
                  <a:lstStyle/>
                  <a:p>
                    <a:pPr>
                      <a:defRPr sz="800">
                        <a:latin typeface="Nexa Book"/>
                      </a:defRPr>
                    </a:pPr>
                    <a:r>
                      <a:t>-2.3 %</a:t>
                    </a:r>
                  </a:p>
                </c:rich>
              </c:tx>
              <c:dLblPos val="ctr"/>
              <c:showLegendKey val="0"/>
              <c:showVal val="1"/>
              <c:showCatName val="0"/>
              <c:showSerName val="0"/>
              <c:showPercent val="0"/>
              <c:showBubbleSize val="0"/>
            </c:dLbl>
            <c:dLbl>
              <c:idx val="4"/>
              <c:tx>
                <c:rich>
                  <a:bodyPr/>
                  <a:lstStyle/>
                  <a:p>
                    <a:pPr>
                      <a:defRPr sz="800">
                        <a:latin typeface="Nexa Book"/>
                      </a:defRPr>
                    </a:pPr>
                    <a:r>
                      <a:t>9.8 %</a:t>
                    </a:r>
                  </a:p>
                </c:rich>
              </c:tx>
              <c:dLblPos val="ctr"/>
              <c:showLegendKey val="0"/>
              <c:showVal val="1"/>
              <c:showCatName val="0"/>
              <c:showSerName val="0"/>
              <c:showPercent val="0"/>
              <c:showBubbleSize val="0"/>
            </c:dLbl>
            <c:dLbl>
              <c:idx val="5"/>
              <c:tx>
                <c:rich>
                  <a:bodyPr/>
                  <a:lstStyle/>
                  <a:p>
                    <a:pPr>
                      <a:defRPr sz="800">
                        <a:latin typeface="Nexa Book"/>
                      </a:defRPr>
                    </a:pPr>
                    <a:r>
                      <a:t>-0.3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1321516470337466</c:v>
                </c:pt>
                <c:pt idx="2">
                  <c:v>0.05598556966305915</c:v>
                </c:pt>
                <c:pt idx="3">
                  <c:v>-0.022801277750014268</c:v>
                </c:pt>
                <c:pt idx="4">
                  <c:v>0.09792334121237489</c:v>
                </c:pt>
                <c:pt idx="5">
                  <c:v>-0.0025208910128187885</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6.7 %</a:t>
                    </a:r>
                  </a:p>
                </c:rich>
              </c:tx>
              <c:dLblPos val="ctr"/>
              <c:showLegendKey val="0"/>
              <c:showVal val="1"/>
              <c:showCatName val="0"/>
              <c:showSerName val="0"/>
              <c:showPercent val="0"/>
              <c:showBubbleSize val="0"/>
            </c:dLbl>
            <c:dLbl>
              <c:idx val="2"/>
              <c:tx>
                <c:rich>
                  <a:bodyPr/>
                  <a:lstStyle/>
                  <a:p>
                    <a:pPr>
                      <a:defRPr sz="800">
                        <a:latin typeface="Nexa Book"/>
                      </a:defRPr>
                    </a:pPr>
                    <a:r>
                      <a:t>10.9 %</a:t>
                    </a:r>
                  </a:p>
                </c:rich>
              </c:tx>
              <c:dLblPos val="ctr"/>
              <c:showLegendKey val="0"/>
              <c:showVal val="1"/>
              <c:showCatName val="0"/>
              <c:showSerName val="0"/>
              <c:showPercent val="0"/>
              <c:showBubbleSize val="0"/>
            </c:dLbl>
            <c:dLbl>
              <c:idx val="3"/>
              <c:tx>
                <c:rich>
                  <a:bodyPr/>
                  <a:lstStyle/>
                  <a:p>
                    <a:pPr>
                      <a:defRPr sz="800">
                        <a:latin typeface="Nexa Book"/>
                      </a:defRPr>
                    </a:pPr>
                    <a:r>
                      <a:t>7.2 %</a:t>
                    </a:r>
                  </a:p>
                </c:rich>
              </c:tx>
              <c:dLblPos val="ctr"/>
              <c:showLegendKey val="0"/>
              <c:showVal val="1"/>
              <c:showCatName val="0"/>
              <c:showSerName val="0"/>
              <c:showPercent val="0"/>
              <c:showBubbleSize val="0"/>
            </c:dLbl>
            <c:dLbl>
              <c:idx val="4"/>
              <c:tx>
                <c:rich>
                  <a:bodyPr/>
                  <a:lstStyle/>
                  <a:p>
                    <a:pPr>
                      <a:defRPr sz="800">
                        <a:latin typeface="Nexa Book"/>
                      </a:defRPr>
                    </a:pPr>
                    <a:r>
                      <a:t>3.6 %</a:t>
                    </a:r>
                  </a:p>
                </c:rich>
              </c:tx>
              <c:dLblPos val="ctr"/>
              <c:showLegendKey val="0"/>
              <c:showVal val="1"/>
              <c:showCatName val="0"/>
              <c:showSerName val="0"/>
              <c:showPercent val="0"/>
              <c:showBubbleSize val="0"/>
            </c:dLbl>
            <c:dLbl>
              <c:idx val="5"/>
              <c:tx>
                <c:rich>
                  <a:bodyPr/>
                  <a:lstStyle/>
                  <a:p>
                    <a:pPr>
                      <a:defRPr sz="800">
                        <a:latin typeface="Nexa Book"/>
                      </a:defRPr>
                    </a:pPr>
                    <a:r>
                      <a:t>1.5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1.0</c:v>
                </c:pt>
                <c:pt idx="1">
                  <c:v>0.7672058956777429</c:v>
                </c:pt>
                <c:pt idx="2">
                  <c:v>0.10927122872344752</c:v>
                </c:pt>
                <c:pt idx="3">
                  <c:v>0.07225829581115922</c:v>
                </c:pt>
                <c:pt idx="4">
                  <c:v>0.03592787326907319</c:v>
                </c:pt>
                <c:pt idx="5">
                  <c:v>0.015282846267414463</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8.8 %</a:t>
                    </a:r>
                  </a:p>
                </c:rich>
              </c:tx>
              <c:dLblPos val="ctr"/>
              <c:showLegendKey val="0"/>
              <c:showVal val="1"/>
              <c:showCatName val="0"/>
              <c:showSerName val="0"/>
              <c:showPercent val="0"/>
              <c:showBubbleSize val="0"/>
            </c:dLbl>
            <c:dLbl>
              <c:idx val="2"/>
              <c:tx>
                <c:rich>
                  <a:bodyPr/>
                  <a:lstStyle/>
                  <a:p>
                    <a:pPr>
                      <a:defRPr sz="800">
                        <a:latin typeface="Nexa Book"/>
                      </a:defRPr>
                    </a:pPr>
                    <a:r>
                      <a:t>10.1 %</a:t>
                    </a:r>
                  </a:p>
                </c:rich>
              </c:tx>
              <c:dLblPos val="ctr"/>
              <c:showLegendKey val="0"/>
              <c:showVal val="1"/>
              <c:showCatName val="0"/>
              <c:showSerName val="0"/>
              <c:showPercent val="0"/>
              <c:showBubbleSize val="0"/>
            </c:dLbl>
            <c:dLbl>
              <c:idx val="3"/>
              <c:tx>
                <c:rich>
                  <a:bodyPr/>
                  <a:lstStyle/>
                  <a:p>
                    <a:pPr>
                      <a:defRPr sz="800">
                        <a:latin typeface="Nexa Book"/>
                      </a:defRPr>
                    </a:pPr>
                    <a:r>
                      <a:t>23.5 %</a:t>
                    </a:r>
                  </a:p>
                </c:rich>
              </c:tx>
              <c:dLblPos val="ctr"/>
              <c:showLegendKey val="0"/>
              <c:showVal val="1"/>
              <c:showCatName val="0"/>
              <c:showSerName val="0"/>
              <c:showPercent val="0"/>
              <c:showBubbleSize val="0"/>
            </c:dLbl>
            <c:dLbl>
              <c:idx val="4"/>
              <c:tx>
                <c:rich>
                  <a:bodyPr/>
                  <a:lstStyle/>
                  <a:p>
                    <a:pPr>
                      <a:defRPr sz="800">
                        <a:latin typeface="Nexa Book"/>
                      </a:defRPr>
                    </a:pPr>
                    <a:r>
                      <a:t>2.4 %</a:t>
                    </a:r>
                  </a:p>
                </c:rich>
              </c:tx>
              <c:dLblPos val="ctr"/>
              <c:showLegendKey val="0"/>
              <c:showVal val="1"/>
              <c:showCatName val="0"/>
              <c:showSerName val="0"/>
              <c:showPercent val="0"/>
              <c:showBubbleSize val="0"/>
            </c:dLbl>
            <c:dLbl>
              <c:idx val="5"/>
              <c:tx>
                <c:rich>
                  <a:bodyPr/>
                  <a:lstStyle/>
                  <a:p>
                    <a:pPr>
                      <a:defRPr sz="800">
                        <a:latin typeface="Nexa Book"/>
                      </a:defRPr>
                    </a:pPr>
                    <a:r>
                      <a:t>5.1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1.0</c:v>
                </c:pt>
                <c:pt idx="1">
                  <c:v>0.5881861824253809</c:v>
                </c:pt>
                <c:pt idx="2">
                  <c:v>0.10063014978481478</c:v>
                </c:pt>
                <c:pt idx="3">
                  <c:v>0.2349941855264335</c:v>
                </c:pt>
                <c:pt idx="4">
                  <c:v>0.02391388615558935</c:v>
                </c:pt>
                <c:pt idx="5">
                  <c:v>0.051321426086610805</c:v>
                </c:pt>
                <c:pt idx="6">
                  <c:v>0.000954170021170647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6</a:t>
                    </a:r>
                  </a:p>
                </c:rich>
              </c:tx>
              <c:dLblPos val="ctr"/>
              <c:showLegendKey val="0"/>
              <c:showVal val="1"/>
              <c:showCatName val="0"/>
              <c:showSerName val="0"/>
              <c:showPercent val="0"/>
              <c:showBubbleSize val="0"/>
            </c:dLbl>
            <c:dLbl>
              <c:idx val="1"/>
              <c:tx>
                <c:rich>
                  <a:bodyPr/>
                  <a:lstStyle/>
                  <a:p>
                    <a:pPr>
                      <a:defRPr sz="800">
                        <a:latin typeface="Nexa Book"/>
                      </a:defRPr>
                    </a:pPr>
                    <a:r>
                      <a:t>27</a:t>
                    </a:r>
                  </a:p>
                </c:rich>
              </c:tx>
              <c:dLblPos val="ctr"/>
              <c:showLegendKey val="0"/>
              <c:showVal val="1"/>
              <c:showCatName val="0"/>
              <c:showSerName val="0"/>
              <c:showPercent val="0"/>
              <c:showBubbleSize val="0"/>
            </c:dLbl>
            <c:dLbl>
              <c:idx val="2"/>
              <c:tx>
                <c:rich>
                  <a:bodyPr/>
                  <a:lstStyle/>
                  <a:p>
                    <a:pPr>
                      <a:defRPr sz="800">
                        <a:latin typeface="Nexa Book"/>
                      </a:defRPr>
                    </a:pPr>
                    <a:r>
                      <a:t>4</a:t>
                    </a:r>
                  </a:p>
                </c:rich>
              </c:tx>
              <c:dLblPos val="ctr"/>
              <c:showLegendKey val="0"/>
              <c:showVal val="1"/>
              <c:showCatName val="0"/>
              <c:showSerName val="0"/>
              <c:showPercent val="0"/>
              <c:showBubbleSize val="0"/>
            </c:dLbl>
            <c:dLbl>
              <c:idx val="3"/>
              <c:tx>
                <c:rich>
                  <a:bodyPr/>
                  <a:lstStyle/>
                  <a:p>
                    <a:pPr>
                      <a:defRPr sz="800">
                        <a:latin typeface="Nexa Book"/>
                      </a:defRPr>
                    </a:pPr>
                    <a:r>
                      <a:t>3</a:t>
                    </a:r>
                  </a:p>
                </c:rich>
              </c:tx>
              <c:dLblPos val="ctr"/>
              <c:showLegendKey val="0"/>
              <c:showVal val="1"/>
              <c:showCatName val="0"/>
              <c:showSerName val="0"/>
              <c:showPercent val="0"/>
              <c:showBubbleSize val="0"/>
            </c:dLbl>
            <c:dLbl>
              <c:idx val="4"/>
              <c:tx>
                <c:rich>
                  <a:bodyPr/>
                  <a:lstStyle/>
                  <a:p>
                    <a:pPr>
                      <a:defRPr sz="800">
                        <a:latin typeface="Nexa Book"/>
                      </a:defRPr>
                    </a:pPr>
                    <a:r>
                      <a:t>1</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3564781.0</c:v>
                </c:pt>
                <c:pt idx="1">
                  <c:v>2734921.0</c:v>
                </c:pt>
                <c:pt idx="2">
                  <c:v>389528.0</c:v>
                </c:pt>
                <c:pt idx="3">
                  <c:v>257585.0</c:v>
                </c:pt>
                <c:pt idx="4">
                  <c:v>128075.0</c:v>
                </c:pt>
                <c:pt idx="5">
                  <c:v>54480.0</c:v>
                </c:pt>
                <c:pt idx="6">
                  <c:v>19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dLbl>
              <c:idx val="3"/>
              <c:tx>
                <c:rich>
                  <a:bodyPr/>
                  <a:lstStyle/>
                  <a:p>
                    <a:pPr>
                      <a:defRPr sz="800">
                        <a:latin typeface="Nexa Book"/>
                      </a:defRPr>
                    </a:pPr>
                    <a:r>
                      <a:t>0.5</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1</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201222.0</c:v>
                </c:pt>
                <c:pt idx="1">
                  <c:v>118356.0</c:v>
                </c:pt>
                <c:pt idx="2">
                  <c:v>20249.0</c:v>
                </c:pt>
                <c:pt idx="3">
                  <c:v>47286.0</c:v>
                </c:pt>
                <c:pt idx="4">
                  <c:v>4812.0</c:v>
                </c:pt>
                <c:pt idx="5">
                  <c:v>10327.0</c:v>
                </c:pt>
                <c:pt idx="6">
                  <c:v>19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3.8 %</a:t>
                    </a:r>
                  </a:p>
                </c:rich>
              </c:tx>
              <c:dLblPos val="ctr"/>
              <c:showLegendKey val="0"/>
              <c:showVal val="1"/>
              <c:showCatName val="0"/>
              <c:showSerName val="0"/>
              <c:showPercent val="0"/>
              <c:showBubbleSize val="0"/>
            </c:dLbl>
            <c:dLbl>
              <c:idx val="4"/>
              <c:tx>
                <c:rich>
                  <a:bodyPr/>
                  <a:lstStyle/>
                  <a:p>
                    <a:pPr>
                      <a:defRPr sz="800">
                        <a:latin typeface="Nexa Book"/>
                      </a:defRPr>
                    </a:pPr>
                    <a:r>
                      <a:t>-4.0 %</a:t>
                    </a:r>
                  </a:p>
                </c:rich>
              </c:tx>
              <c:dLblPos val="ctr"/>
              <c:showLegendKey val="0"/>
              <c:showVal val="1"/>
              <c:showCatName val="0"/>
              <c:showSerName val="0"/>
              <c:showPercent val="0"/>
              <c:showBubbleSize val="0"/>
            </c:dLbl>
            <c:dLbl>
              <c:idx val="5"/>
              <c:tx>
                <c:rich>
                  <a:bodyPr/>
                  <a:lstStyle/>
                  <a:p>
                    <a:pPr>
                      <a:defRPr sz="800">
                        <a:latin typeface="Nexa Book"/>
                      </a:defRPr>
                    </a:pPr>
                    <a:r>
                      <a:t>0.2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0.0</c:v>
                </c:pt>
                <c:pt idx="1">
                  <c:v>0.021597550992372816</c:v>
                </c:pt>
                <c:pt idx="2">
                  <c:v>-0.0033503277990795527</c:v>
                </c:pt>
                <c:pt idx="3">
                  <c:v>0.038441421951655036</c:v>
                </c:pt>
                <c:pt idx="4">
                  <c:v>-0.03991175723777045</c:v>
                </c:pt>
                <c:pt idx="5">
                  <c:v>0.00155898264957691</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6.1 %</a:t>
                    </a:r>
                  </a:p>
                </c:rich>
              </c:tx>
              <c:dLblPos val="ctr"/>
              <c:showLegendKey val="0"/>
              <c:showVal val="1"/>
              <c:showCatName val="0"/>
              <c:showSerName val="0"/>
              <c:showPercent val="0"/>
              <c:showBubbleSize val="0"/>
            </c:dLbl>
            <c:dLbl>
              <c:idx val="2"/>
              <c:tx>
                <c:rich>
                  <a:bodyPr/>
                  <a:lstStyle/>
                  <a:p>
                    <a:pPr>
                      <a:defRPr sz="800">
                        <a:latin typeface="Nexa Book"/>
                      </a:defRPr>
                    </a:pPr>
                    <a:r>
                      <a:t>-0.1 %</a:t>
                    </a:r>
                  </a:p>
                </c:rich>
              </c:tx>
              <c:dLblPos val="ctr"/>
              <c:showLegendKey val="0"/>
              <c:showVal val="1"/>
              <c:showCatName val="0"/>
              <c:showSerName val="0"/>
              <c:showPercent val="0"/>
              <c:showBubbleSize val="0"/>
            </c:dLbl>
            <c:dLbl>
              <c:idx val="3"/>
              <c:tx>
                <c:rich>
                  <a:bodyPr/>
                  <a:lstStyle/>
                  <a:p>
                    <a:pPr>
                      <a:defRPr sz="800">
                        <a:latin typeface="Nexa Book"/>
                      </a:defRPr>
                    </a:pPr>
                    <a:r>
                      <a:t>18.2 %</a:t>
                    </a:r>
                  </a:p>
                </c:rich>
              </c:tx>
              <c:dLblPos val="ctr"/>
              <c:showLegendKey val="0"/>
              <c:showVal val="1"/>
              <c:showCatName val="0"/>
              <c:showSerName val="0"/>
              <c:showPercent val="0"/>
              <c:showBubbleSize val="0"/>
            </c:dLbl>
            <c:dLbl>
              <c:idx val="4"/>
              <c:tx>
                <c:rich>
                  <a:bodyPr/>
                  <a:lstStyle/>
                  <a:p>
                    <a:pPr>
                      <a:defRPr sz="800">
                        <a:latin typeface="Nexa Book"/>
                      </a:defRPr>
                    </a:pPr>
                    <a:r>
                      <a:t>2.3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15.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0.0</c:v>
                </c:pt>
                <c:pt idx="1">
                  <c:v>-0.06090260986788876</c:v>
                </c:pt>
                <c:pt idx="2">
                  <c:v>-0.0007287521214507514</c:v>
                </c:pt>
                <c:pt idx="3">
                  <c:v>0.18184598744688185</c:v>
                </c:pt>
                <c:pt idx="4">
                  <c:v>0.022763674426235104</c:v>
                </c:pt>
                <c:pt idx="5">
                  <c:v>0.007256471853504344</c:v>
                </c:pt>
                <c:pt idx="6">
                  <c:v>-0.150234771737281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9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2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6290317844643674</c:v>
                </c:pt>
                <c:pt idx="2">
                  <c:v>0.11238722161519277</c:v>
                </c:pt>
                <c:pt idx="3">
                  <c:v>0.11229339323452638</c:v>
                </c:pt>
                <c:pt idx="4">
                  <c:v>0.08514934548344764</c:v>
                </c:pt>
                <c:pt idx="5">
                  <c:v>0.04150280480052275</c:v>
                </c:pt>
                <c:pt idx="6">
                  <c:v>0.0196354504019430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4.6 %</a:t>
                    </a:r>
                  </a:p>
                </c:rich>
              </c:tx>
              <c:dLblPos val="ctr"/>
              <c:showLegendKey val="0"/>
              <c:showVal val="1"/>
              <c:showCatName val="0"/>
              <c:showSerName val="0"/>
              <c:showPercent val="0"/>
              <c:showBubbleSize val="0"/>
            </c:dLbl>
            <c:dLbl>
              <c:idx val="2"/>
              <c:tx>
                <c:rich>
                  <a:bodyPr/>
                  <a:lstStyle/>
                  <a:p>
                    <a:pPr>
                      <a:defRPr sz="800">
                        <a:latin typeface="Nexa Book"/>
                      </a:defRPr>
                    </a:pPr>
                    <a:r>
                      <a:t>43.5 %</a:t>
                    </a:r>
                  </a:p>
                </c:rich>
              </c:tx>
              <c:dLblPos val="ctr"/>
              <c:showLegendKey val="0"/>
              <c:showVal val="1"/>
              <c:showCatName val="0"/>
              <c:showSerName val="0"/>
              <c:showPercent val="0"/>
              <c:showBubbleSize val="0"/>
            </c:dLbl>
            <c:dLbl>
              <c:idx val="3"/>
              <c:tx>
                <c:rich>
                  <a:bodyPr/>
                  <a:lstStyle/>
                  <a:p>
                    <a:pPr>
                      <a:defRPr sz="800">
                        <a:latin typeface="Nexa Book"/>
                      </a:defRPr>
                    </a:pPr>
                    <a:r>
                      <a:t>7.7 %</a:t>
                    </a:r>
                  </a:p>
                </c:rich>
              </c:tx>
              <c:dLblPos val="ctr"/>
              <c:showLegendKey val="0"/>
              <c:showVal val="1"/>
              <c:showCatName val="0"/>
              <c:showSerName val="0"/>
              <c:showPercent val="0"/>
              <c:showBubbleSize val="0"/>
            </c:dLbl>
            <c:dLbl>
              <c:idx val="4"/>
              <c:tx>
                <c:rich>
                  <a:bodyPr/>
                  <a:lstStyle/>
                  <a:p>
                    <a:pPr>
                      <a:defRPr sz="800">
                        <a:latin typeface="Nexa Book"/>
                      </a:defRPr>
                    </a:pPr>
                    <a:r>
                      <a:t>0.3 %</a:t>
                    </a:r>
                  </a:p>
                </c:rich>
              </c:tx>
              <c:dLblPos val="ctr"/>
              <c:showLegendKey val="0"/>
              <c:showVal val="1"/>
              <c:showCatName val="0"/>
              <c:showSerName val="0"/>
              <c:showPercent val="0"/>
              <c:showBubbleSize val="0"/>
            </c:dLbl>
            <c:dLbl>
              <c:idx val="5"/>
              <c:tx>
                <c:rich>
                  <a:bodyPr/>
                  <a:lstStyle/>
                  <a:p>
                    <a:pPr>
                      <a:defRPr sz="800">
                        <a:latin typeface="Nexa Book"/>
                      </a:defRPr>
                    </a:pPr>
                    <a:r>
                      <a:t>3.2 %</a:t>
                    </a:r>
                  </a:p>
                </c:rich>
              </c:tx>
              <c:dLblPos val="ctr"/>
              <c:showLegendKey val="0"/>
              <c:showVal val="1"/>
              <c:showCatName val="0"/>
              <c:showSerName val="0"/>
              <c:showPercent val="0"/>
              <c:showBubbleSize val="0"/>
            </c:dLbl>
            <c:dLbl>
              <c:idx val="6"/>
              <c:tx>
                <c:rich>
                  <a:bodyPr/>
                  <a:lstStyle/>
                  <a:p>
                    <a:pPr>
                      <a:defRPr sz="800">
                        <a:latin typeface="Nexa Book"/>
                      </a:defRPr>
                    </a:pPr>
                    <a:r>
                      <a:t>0.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44598981415403655</c:v>
                </c:pt>
                <c:pt idx="2">
                  <c:v>0.4351236193704637</c:v>
                </c:pt>
                <c:pt idx="3">
                  <c:v>0.07670067666440086</c:v>
                </c:pt>
                <c:pt idx="4">
                  <c:v>0.003167382557106722</c:v>
                </c:pt>
                <c:pt idx="5">
                  <c:v>0.031520054354826216</c:v>
                </c:pt>
                <c:pt idx="6">
                  <c:v>0.00749845289916597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362</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43</a:t>
                    </a:r>
                  </a:p>
                </c:rich>
              </c:tx>
              <c:dLblPos val="ctr"/>
              <c:showLegendKey val="0"/>
              <c:showVal val="1"/>
              <c:showCatName val="0"/>
              <c:showSerName val="0"/>
              <c:showPercent val="0"/>
              <c:showBubbleSize val="0"/>
            </c:dLbl>
            <c:dLbl>
              <c:idx val="4"/>
              <c:tx>
                <c:rich>
                  <a:bodyPr/>
                  <a:lstStyle/>
                  <a:p>
                    <a:pPr>
                      <a:defRPr sz="800">
                        <a:latin typeface="Nexa Book"/>
                      </a:defRPr>
                    </a:pPr>
                    <a:r>
                      <a:t>184</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216597578.0</c:v>
                </c:pt>
                <c:pt idx="1">
                  <c:v>136246761.0</c:v>
                </c:pt>
                <c:pt idx="2">
                  <c:v>24342800.0</c:v>
                </c:pt>
                <c:pt idx="3">
                  <c:v>24322477.0</c:v>
                </c:pt>
                <c:pt idx="4">
                  <c:v>18443142.0</c:v>
                </c:pt>
                <c:pt idx="5">
                  <c:v>8989407.0</c:v>
                </c:pt>
                <c:pt idx="6">
                  <c:v>42529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99</a:t>
                    </a:r>
                  </a:p>
                </c:rich>
              </c:tx>
              <c:dLblPos val="ctr"/>
              <c:showLegendKey val="0"/>
              <c:showVal val="1"/>
              <c:showCatName val="0"/>
              <c:showSerName val="0"/>
              <c:showPercent val="0"/>
              <c:showBubbleSize val="0"/>
            </c:dLbl>
            <c:dLbl>
              <c:idx val="1"/>
              <c:tx>
                <c:rich>
                  <a:bodyPr/>
                  <a:lstStyle/>
                  <a:p>
                    <a:pPr>
                      <a:defRPr sz="800">
                        <a:latin typeface="Nexa Book"/>
                      </a:defRPr>
                    </a:pPr>
                    <a:r>
                      <a:t>44</a:t>
                    </a:r>
                  </a:p>
                </c:rich>
              </c:tx>
              <c:dLblPos val="ctr"/>
              <c:showLegendKey val="0"/>
              <c:showVal val="1"/>
              <c:showCatName val="0"/>
              <c:showSerName val="0"/>
              <c:showPercent val="0"/>
              <c:showBubbleSize val="0"/>
            </c:dLbl>
            <c:dLbl>
              <c:idx val="2"/>
              <c:tx>
                <c:rich>
                  <a:bodyPr/>
                  <a:lstStyle/>
                  <a:p>
                    <a:pPr>
                      <a:defRPr sz="800">
                        <a:latin typeface="Nexa Book"/>
                      </a:defRPr>
                    </a:pPr>
                    <a:r>
                      <a:t>43</a:t>
                    </a:r>
                  </a:p>
                </c:rich>
              </c:tx>
              <c:dLblPos val="ctr"/>
              <c:showLegendKey val="0"/>
              <c:showVal val="1"/>
              <c:showCatName val="0"/>
              <c:showSerName val="0"/>
              <c:showPercent val="0"/>
              <c:showBubbleSize val="0"/>
            </c:dLbl>
            <c:dLbl>
              <c:idx val="3"/>
              <c:tx>
                <c:rich>
                  <a:bodyPr/>
                  <a:lstStyle/>
                  <a:p>
                    <a:pPr>
                      <a:defRPr sz="800">
                        <a:latin typeface="Nexa Book"/>
                      </a:defRPr>
                    </a:pPr>
                    <a:r>
                      <a:t>8</a:t>
                    </a:r>
                  </a:p>
                </c:rich>
              </c:tx>
              <c:dLblPos val="ctr"/>
              <c:showLegendKey val="0"/>
              <c:showVal val="1"/>
              <c:showCatName val="0"/>
              <c:showSerName val="0"/>
              <c:showPercent val="0"/>
              <c:showBubbleSize val="0"/>
            </c:dLbl>
            <c:dLbl>
              <c:idx val="4"/>
              <c:tx>
                <c:rich>
                  <a:bodyPr/>
                  <a:lstStyle/>
                  <a:p>
                    <a:pPr>
                      <a:defRPr sz="800">
                        <a:latin typeface="Nexa Book"/>
                      </a:defRPr>
                    </a:pPr>
                    <a:r>
                      <a:t>0.3</a:t>
                    </a:r>
                  </a:p>
                </c:rich>
              </c:tx>
              <c:dLblPos val="ctr"/>
              <c:showLegendKey val="0"/>
              <c:showVal val="1"/>
              <c:showCatName val="0"/>
              <c:showSerName val="0"/>
              <c:showPercent val="0"/>
              <c:showBubbleSize val="0"/>
            </c:dLbl>
            <c:dLbl>
              <c:idx val="5"/>
              <c:tx>
                <c:rich>
                  <a:bodyPr/>
                  <a:lstStyle/>
                  <a:p>
                    <a:pPr>
                      <a:defRPr sz="800">
                        <a:latin typeface="Nexa Book"/>
                      </a:defRPr>
                    </a:pPr>
                    <a:r>
                      <a:t>3</a:t>
                    </a:r>
                  </a:p>
                </c:rich>
              </c:tx>
              <c:dLblPos val="ctr"/>
              <c:showLegendKey val="0"/>
              <c:showVal val="1"/>
              <c:showCatName val="0"/>
              <c:showSerName val="0"/>
              <c:showPercent val="0"/>
              <c:showBubbleSize val="0"/>
            </c:dLbl>
            <c:dLbl>
              <c:idx val="6"/>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9852299.0</c:v>
                </c:pt>
                <c:pt idx="1">
                  <c:v>4394025.0</c:v>
                </c:pt>
                <c:pt idx="2">
                  <c:v>4286968.0</c:v>
                </c:pt>
                <c:pt idx="3">
                  <c:v>755678.0</c:v>
                </c:pt>
                <c:pt idx="4">
                  <c:v>31206.0</c:v>
                </c:pt>
                <c:pt idx="5">
                  <c:v>310545.0</c:v>
                </c:pt>
                <c:pt idx="6">
                  <c:v>7387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1.3 %</a:t>
                    </a:r>
                  </a:p>
                </c:rich>
              </c:tx>
              <c:dLblPos val="ctr"/>
              <c:showLegendKey val="0"/>
              <c:showVal val="1"/>
              <c:showCatName val="0"/>
              <c:showSerName val="0"/>
              <c:showPercent val="0"/>
              <c:showBubbleSize val="0"/>
            </c:dLbl>
            <c:dLbl>
              <c:idx val="5"/>
              <c:tx>
                <c:rich>
                  <a:bodyPr/>
                  <a:lstStyle/>
                  <a:p>
                    <a:pPr>
                      <a:defRPr sz="800">
                        <a:latin typeface="Nexa Book"/>
                      </a:defRPr>
                    </a:pPr>
                    <a:r>
                      <a:t>-0.1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1355375036303863</c:v>
                </c:pt>
                <c:pt idx="2">
                  <c:v>0.0031109231152201128</c:v>
                </c:pt>
                <c:pt idx="3">
                  <c:v>-0.0041802996246443486</c:v>
                </c:pt>
                <c:pt idx="4">
                  <c:v>0.012531384449967181</c:v>
                </c:pt>
                <c:pt idx="5">
                  <c:v>-0.0008767990838201498</c:v>
                </c:pt>
                <c:pt idx="6">
                  <c:v>0.0029685415063157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8 %</a:t>
                    </a:r>
                  </a:p>
                </c:rich>
              </c:tx>
              <c:dLblPos val="ctr"/>
              <c:showLegendKey val="0"/>
              <c:showVal val="1"/>
              <c:showCatName val="0"/>
              <c:showSerName val="0"/>
              <c:showPercent val="0"/>
              <c:showBubbleSize val="0"/>
            </c:dLbl>
            <c:dLbl>
              <c:idx val="2"/>
              <c:tx>
                <c:rich>
                  <a:bodyPr/>
                  <a:lstStyle/>
                  <a:p>
                    <a:pPr>
                      <a:defRPr sz="800">
                        <a:latin typeface="Nexa Book"/>
                      </a:defRPr>
                    </a:pPr>
                    <a:r>
                      <a:t>-5.0 %</a:t>
                    </a:r>
                  </a:p>
                </c:rich>
              </c:tx>
              <c:dLblPos val="ctr"/>
              <c:showLegendKey val="0"/>
              <c:showVal val="1"/>
              <c:showCatName val="0"/>
              <c:showSerName val="0"/>
              <c:showPercent val="0"/>
              <c:showBubbleSize val="0"/>
            </c:dLbl>
            <c:dLbl>
              <c:idx val="3"/>
              <c:tx>
                <c:rich>
                  <a:bodyPr/>
                  <a:lstStyle/>
                  <a:p>
                    <a:pPr>
                      <a:defRPr sz="800">
                        <a:latin typeface="Nexa Book"/>
                      </a:defRPr>
                    </a:pPr>
                    <a:r>
                      <a:t>0.3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3806152333550861</c:v>
                </c:pt>
                <c:pt idx="2">
                  <c:v>-0.050212917541097635</c:v>
                </c:pt>
                <c:pt idx="3">
                  <c:v>0.002970386165088365</c:v>
                </c:pt>
                <c:pt idx="4">
                  <c:v>0.00141549563957887</c:v>
                </c:pt>
                <c:pt idx="5">
                  <c:v>0.005464512455677983</c:v>
                </c:pt>
                <c:pt idx="6">
                  <c:v>0.00230099994524384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8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4 %</a:t>
                    </a:r>
                  </a:p>
                </c:rich>
              </c:tx>
              <c:dLblPos val="ctr"/>
              <c:showLegendKey val="0"/>
              <c:showVal val="1"/>
              <c:showCatName val="0"/>
              <c:showSerName val="0"/>
              <c:showPercent val="0"/>
              <c:showBubbleSize val="0"/>
            </c:dLbl>
            <c:dLbl>
              <c:idx val="6"/>
              <c:tx>
                <c:rich>
                  <a:bodyPr/>
                  <a:lstStyle/>
                  <a:p>
                    <a:pPr>
                      <a:defRPr sz="800">
                        <a:latin typeface="Nexa Book"/>
                      </a:defRPr>
                    </a:pPr>
                    <a:r>
                      <a:t>3.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1.0</c:v>
                </c:pt>
                <c:pt idx="1">
                  <c:v>0.6081168291386542</c:v>
                </c:pt>
                <c:pt idx="2">
                  <c:v>0.11232894578434127</c:v>
                </c:pt>
                <c:pt idx="3">
                  <c:v>0.11221643840328378</c:v>
                </c:pt>
                <c:pt idx="4">
                  <c:v>0.08453038866335089</c:v>
                </c:pt>
                <c:pt idx="5">
                  <c:v>0.04437344342608828</c:v>
                </c:pt>
                <c:pt idx="6">
                  <c:v>0.038433954584281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 %</a:t>
                    </a:r>
                  </a:p>
                </c:rich>
              </c:tx>
              <c:dLblPos val="ctr"/>
              <c:showLegendKey val="0"/>
              <c:showVal val="1"/>
              <c:showCatName val="0"/>
              <c:showSerName val="0"/>
              <c:showPercent val="0"/>
              <c:showBubbleSize val="0"/>
            </c:dLbl>
            <c:dLbl>
              <c:idx val="2"/>
              <c:tx>
                <c:rich>
                  <a:bodyPr/>
                  <a:lstStyle/>
                  <a:p>
                    <a:pPr>
                      <a:defRPr sz="800">
                        <a:latin typeface="Nexa Book"/>
                      </a:defRPr>
                    </a:pPr>
                    <a:r>
                      <a:t>15.9 %</a:t>
                    </a:r>
                  </a:p>
                </c:rich>
              </c:tx>
              <c:dLblPos val="ctr"/>
              <c:showLegendKey val="0"/>
              <c:showVal val="1"/>
              <c:showCatName val="0"/>
              <c:showSerName val="0"/>
              <c:showPercent val="0"/>
              <c:showBubbleSize val="0"/>
            </c:dLbl>
            <c:dLbl>
              <c:idx val="3"/>
              <c:tx>
                <c:rich>
                  <a:bodyPr/>
                  <a:lstStyle/>
                  <a:p>
                    <a:pPr>
                      <a:defRPr sz="800">
                        <a:latin typeface="Nexa Book"/>
                      </a:defRPr>
                    </a:pPr>
                    <a:r>
                      <a:t>4.9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72.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1.0</c:v>
                </c:pt>
                <c:pt idx="1">
                  <c:v>0.06854384853341285</c:v>
                </c:pt>
                <c:pt idx="2">
                  <c:v>0.15895046774253663</c:v>
                </c:pt>
                <c:pt idx="3">
                  <c:v>0.049338451790838955</c:v>
                </c:pt>
                <c:pt idx="4">
                  <c:v>0.0</c:v>
                </c:pt>
                <c:pt idx="5">
                  <c:v>0.0</c:v>
                </c:pt>
                <c:pt idx="6">
                  <c:v>0.723137415675897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88</a:t>
                    </a:r>
                  </a:p>
                </c:rich>
              </c:tx>
              <c:dLblPos val="ctr"/>
              <c:showLegendKey val="0"/>
              <c:showVal val="1"/>
              <c:showCatName val="0"/>
              <c:showSerName val="0"/>
              <c:showPercent val="0"/>
              <c:showBubbleSize val="0"/>
            </c:dLbl>
            <c:dLbl>
              <c:idx val="1"/>
              <c:tx>
                <c:rich>
                  <a:bodyPr/>
                  <a:lstStyle/>
                  <a:p>
                    <a:pPr>
                      <a:defRPr sz="800">
                        <a:latin typeface="Nexa Book"/>
                      </a:defRPr>
                    </a:pPr>
                    <a:r>
                      <a:t>297</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dLbl>
              <c:idx val="3"/>
              <c:tx>
                <c:rich>
                  <a:bodyPr/>
                  <a:lstStyle/>
                  <a:p>
                    <a:pPr>
                      <a:defRPr sz="800">
                        <a:latin typeface="Nexa Book"/>
                      </a:defRPr>
                    </a:pPr>
                    <a:r>
                      <a:t>55</a:t>
                    </a:r>
                  </a:p>
                </c:rich>
              </c:tx>
              <c:dLblPos val="ctr"/>
              <c:showLegendKey val="0"/>
              <c:showVal val="1"/>
              <c:showCatName val="0"/>
              <c:showSerName val="0"/>
              <c:showPercent val="0"/>
              <c:showBubbleSize val="0"/>
            </c:dLbl>
            <c:dLbl>
              <c:idx val="4"/>
              <c:tx>
                <c:rich>
                  <a:bodyPr/>
                  <a:lstStyle/>
                  <a:p>
                    <a:pPr>
                      <a:defRPr sz="800">
                        <a:latin typeface="Nexa Book"/>
                      </a:defRPr>
                    </a:pPr>
                    <a:r>
                      <a:t>41</a:t>
                    </a:r>
                  </a:p>
                </c:rich>
              </c:tx>
              <c:dLblPos val="ctr"/>
              <c:showLegendKey val="0"/>
              <c:showVal val="1"/>
              <c:showCatName val="0"/>
              <c:showSerName val="0"/>
              <c:showPercent val="0"/>
              <c:showBubbleSize val="0"/>
            </c:dLbl>
            <c:dLbl>
              <c:idx val="5"/>
              <c:tx>
                <c:rich>
                  <a:bodyPr/>
                  <a:lstStyle/>
                  <a:p>
                    <a:pPr>
                      <a:defRPr sz="800">
                        <a:latin typeface="Nexa Book"/>
                      </a:defRPr>
                    </a:pPr>
                    <a:r>
                      <a:t>22</a:t>
                    </a:r>
                  </a:p>
                </c:rich>
              </c:tx>
              <c:dLblPos val="ctr"/>
              <c:showLegendKey val="0"/>
              <c:showVal val="1"/>
              <c:showCatName val="0"/>
              <c:showSerName val="0"/>
              <c:showPercent val="0"/>
              <c:showBubbleSize val="0"/>
            </c:dLbl>
            <c:dLbl>
              <c:idx val="6"/>
              <c:tx>
                <c:rich>
                  <a:bodyPr/>
                  <a:lstStyle/>
                  <a:p>
                    <a:pPr>
                      <a:defRPr sz="800">
                        <a:latin typeface="Nexa Book"/>
                      </a:defRPr>
                    </a:pPr>
                    <a:r>
                      <a:t>19</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48841240.0</c:v>
                </c:pt>
                <c:pt idx="1">
                  <c:v>29701180.0</c:v>
                </c:pt>
                <c:pt idx="2">
                  <c:v>5486285.0</c:v>
                </c:pt>
                <c:pt idx="3">
                  <c:v>5480790.0</c:v>
                </c:pt>
                <c:pt idx="4">
                  <c:v>4128569.0</c:v>
                </c:pt>
                <c:pt idx="5">
                  <c:v>2167254.0</c:v>
                </c:pt>
                <c:pt idx="6">
                  <c:v>187716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a:t>
                    </a:r>
                  </a:p>
                </c:rich>
              </c:tx>
              <c:dLblPos val="ctr"/>
              <c:showLegendKey val="0"/>
              <c:showVal val="1"/>
              <c:showCatName val="0"/>
              <c:showSerName val="0"/>
              <c:showPercent val="0"/>
              <c:showBubbleSize val="0"/>
            </c:dLbl>
            <c:dLbl>
              <c:idx val="1"/>
              <c:tx>
                <c:rich>
                  <a:bodyPr/>
                  <a:lstStyle/>
                  <a:p>
                    <a:pPr>
                      <a:defRPr sz="800">
                        <a:latin typeface="Nexa Book"/>
                      </a:defRPr>
                    </a:pPr>
                    <a:r>
                      <a:t>0.2</a:t>
                    </a:r>
                  </a:p>
                </c:rich>
              </c:tx>
              <c:dLblPos val="ctr"/>
              <c:showLegendKey val="0"/>
              <c:showVal val="1"/>
              <c:showCatName val="0"/>
              <c:showSerName val="0"/>
              <c:showPercent val="0"/>
              <c:showBubbleSize val="0"/>
            </c:dLbl>
            <c:dLbl>
              <c:idx val="2"/>
              <c:tx>
                <c:rich>
                  <a:bodyPr/>
                  <a:lstStyle/>
                  <a:p>
                    <a:pPr>
                      <a:defRPr sz="800">
                        <a:latin typeface="Nexa Book"/>
                      </a:defRPr>
                    </a:pPr>
                    <a:r>
                      <a:t>0.4</a:t>
                    </a:r>
                  </a:p>
                </c:rich>
              </c:tx>
              <c:dLblPos val="ctr"/>
              <c:showLegendKey val="0"/>
              <c:showVal val="1"/>
              <c:showCatName val="0"/>
              <c:showSerName val="0"/>
              <c:showPercent val="0"/>
              <c:showBubbleSize val="0"/>
            </c:dLbl>
            <c:dLbl>
              <c:idx val="3"/>
              <c:tx>
                <c:rich>
                  <a:bodyPr/>
                  <a:lstStyle/>
                  <a:p>
                    <a:pPr>
                      <a:defRPr sz="800">
                        <a:latin typeface="Nexa Book"/>
                      </a:defRPr>
                    </a:pPr>
                    <a:r>
                      <a:t>0.1</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0</a:t>
                    </a:r>
                  </a:p>
                </c:rich>
              </c:tx>
              <c:dLblPos val="ctr"/>
              <c:showLegendKey val="0"/>
              <c:showVal val="1"/>
              <c:showCatName val="0"/>
              <c:showSerName val="0"/>
              <c:showPercent val="0"/>
              <c:showBubbleSize val="0"/>
            </c:dLbl>
            <c:dLbl>
              <c:idx val="6"/>
              <c:tx>
                <c:rich>
                  <a:bodyPr/>
                  <a:lstStyle/>
                  <a:p>
                    <a:pPr>
                      <a:defRPr sz="800">
                        <a:latin typeface="Nexa Book"/>
                      </a:defRPr>
                    </a:pPr>
                    <a:r>
                      <a:t>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268310.0</c:v>
                </c:pt>
                <c:pt idx="1">
                  <c:v>18391.0</c:v>
                </c:pt>
                <c:pt idx="2">
                  <c:v>42648.0</c:v>
                </c:pt>
                <c:pt idx="3">
                  <c:v>13238.0</c:v>
                </c:pt>
                <c:pt idx="4">
                  <c:v>7.0</c:v>
                </c:pt>
                <c:pt idx="5">
                  <c:v>1.0</c:v>
                </c:pt>
                <c:pt idx="6">
                  <c:v>194025.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 %</a:t>
                    </a:r>
                  </a:p>
                </c:rich>
              </c:tx>
              <c:dLblPos val="ctr"/>
              <c:showLegendKey val="0"/>
              <c:showVal val="1"/>
              <c:showCatName val="0"/>
              <c:showSerName val="0"/>
              <c:showPercent val="0"/>
              <c:showBubbleSize val="0"/>
            </c:dLbl>
            <c:dLbl>
              <c:idx val="2"/>
              <c:tx>
                <c:rich>
                  <a:bodyPr/>
                  <a:lstStyle/>
                  <a:p>
                    <a:pPr>
                      <a:defRPr sz="800">
                        <a:latin typeface="Nexa Book"/>
                      </a:defRPr>
                    </a:pPr>
                    <a:r>
                      <a:t>3.5 %</a:t>
                    </a:r>
                  </a:p>
                </c:rich>
              </c:tx>
              <c:dLblPos val="ctr"/>
              <c:showLegendKey val="0"/>
              <c:showVal val="1"/>
              <c:showCatName val="0"/>
              <c:showSerName val="0"/>
              <c:showPercent val="0"/>
              <c:showBubbleSize val="0"/>
            </c:dLbl>
            <c:dLbl>
              <c:idx val="3"/>
              <c:tx>
                <c:rich>
                  <a:bodyPr/>
                  <a:lstStyle/>
                  <a:p>
                    <a:pPr>
                      <a:defRPr sz="800">
                        <a:latin typeface="Nexa Book"/>
                      </a:defRPr>
                    </a:pPr>
                    <a:r>
                      <a:t>-0.1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0 %</a:t>
                    </a:r>
                  </a:p>
                </c:rich>
              </c:tx>
              <c:dLblPos val="ctr"/>
              <c:showLegendKey val="0"/>
              <c:showVal val="1"/>
              <c:showCatName val="0"/>
              <c:showSerName val="0"/>
              <c:showPercent val="0"/>
              <c:showBubbleSize val="0"/>
            </c:dLbl>
            <c:dLbl>
              <c:idx val="6"/>
              <c:tx>
                <c:rich>
                  <a:bodyPr/>
                  <a:lstStyle/>
                  <a:p>
                    <a:pPr>
                      <a:defRPr sz="800">
                        <a:latin typeface="Nexa Book"/>
                      </a:defRPr>
                    </a:pPr>
                    <a:r>
                      <a:t>-1.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0.0</c:v>
                </c:pt>
                <c:pt idx="1">
                  <c:v>-0.016428476671139225</c:v>
                </c:pt>
                <c:pt idx="2">
                  <c:v>0.03462277846995167</c:v>
                </c:pt>
                <c:pt idx="3">
                  <c:v>-0.0010215497937482027</c:v>
                </c:pt>
                <c:pt idx="4">
                  <c:v>0.0005894365929111772</c:v>
                </c:pt>
                <c:pt idx="5">
                  <c:v>0.0004951235732489831</c:v>
                </c:pt>
                <c:pt idx="6">
                  <c:v>-0.0182573121712243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4 %</a:t>
                    </a:r>
                  </a:p>
                </c:rich>
              </c:tx>
              <c:dLblPos val="ctr"/>
              <c:showLegendKey val="0"/>
              <c:showVal val="1"/>
              <c:showCatName val="0"/>
              <c:showSerName val="0"/>
              <c:showPercent val="0"/>
              <c:showBubbleSize val="0"/>
            </c:dLbl>
            <c:dLbl>
              <c:idx val="2"/>
              <c:tx>
                <c:rich>
                  <a:bodyPr/>
                  <a:lstStyle/>
                  <a:p>
                    <a:pPr>
                      <a:defRPr sz="800">
                        <a:latin typeface="Nexa Book"/>
                      </a:defRPr>
                    </a:pPr>
                    <a:r>
                      <a:t>-15.0 %</a:t>
                    </a:r>
                  </a:p>
                </c:rich>
              </c:tx>
              <c:dLblPos val="ctr"/>
              <c:showLegendKey val="0"/>
              <c:showVal val="1"/>
              <c:showCatName val="0"/>
              <c:showSerName val="0"/>
              <c:showPercent val="0"/>
              <c:showBubbleSize val="0"/>
            </c:dLbl>
            <c:dLbl>
              <c:idx val="3"/>
              <c:tx>
                <c:rich>
                  <a:bodyPr/>
                  <a:lstStyle/>
                  <a:p>
                    <a:pPr>
                      <a:defRPr sz="800">
                        <a:latin typeface="Nexa Book"/>
                      </a:defRPr>
                    </a:pPr>
                    <a:r>
                      <a:t>-0.6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16.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0.0</c:v>
                </c:pt>
                <c:pt idx="1">
                  <c:v>-0.004372955279471444</c:v>
                </c:pt>
                <c:pt idx="2">
                  <c:v>-0.14956269171133618</c:v>
                </c:pt>
                <c:pt idx="3">
                  <c:v>-0.005583671100949386</c:v>
                </c:pt>
                <c:pt idx="4">
                  <c:v>0.0</c:v>
                </c:pt>
                <c:pt idx="5">
                  <c:v>0.0</c:v>
                </c:pt>
                <c:pt idx="6">
                  <c:v>0.1615269460433613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0 %</a:t>
                    </a:r>
                  </a:p>
                </c:rich>
              </c:tx>
              <c:dLblPos val="ctr"/>
              <c:showLegendKey val="0"/>
              <c:showVal val="1"/>
              <c:showCatName val="0"/>
              <c:showSerName val="0"/>
              <c:showPercent val="0"/>
              <c:showBubbleSize val="0"/>
            </c:dLbl>
            <c:dLbl>
              <c:idx val="2"/>
              <c:tx>
                <c:rich>
                  <a:bodyPr/>
                  <a:lstStyle/>
                  <a:p>
                    <a:pPr>
                      <a:defRPr sz="800">
                        <a:latin typeface="Nexa Book"/>
                      </a:defRPr>
                    </a:pPr>
                    <a:r>
                      <a:t>16.1 %</a:t>
                    </a:r>
                  </a:p>
                </c:rich>
              </c:tx>
              <c:dLblPos val="ctr"/>
              <c:showLegendKey val="0"/>
              <c:showVal val="1"/>
              <c:showCatName val="0"/>
              <c:showSerName val="0"/>
              <c:showPercent val="0"/>
              <c:showBubbleSize val="0"/>
            </c:dLbl>
            <c:dLbl>
              <c:idx val="3"/>
              <c:tx>
                <c:rich>
                  <a:bodyPr/>
                  <a:lstStyle/>
                  <a:p>
                    <a:pPr>
                      <a:defRPr sz="800">
                        <a:latin typeface="Nexa Book"/>
                      </a:defRPr>
                    </a:pPr>
                    <a:r>
                      <a:t>10.5 %</a:t>
                    </a:r>
                  </a:p>
                </c:rich>
              </c:tx>
              <c:dLblPos val="ctr"/>
              <c:showLegendKey val="0"/>
              <c:showVal val="1"/>
              <c:showCatName val="0"/>
              <c:showSerName val="0"/>
              <c:showPercent val="0"/>
              <c:showBubbleSize val="0"/>
            </c:dLbl>
            <c:dLbl>
              <c:idx val="4"/>
              <c:tx>
                <c:rich>
                  <a:bodyPr/>
                  <a:lstStyle/>
                  <a:p>
                    <a:pPr>
                      <a:defRPr sz="800">
                        <a:latin typeface="Nexa Book"/>
                      </a:defRPr>
                    </a:pPr>
                    <a:r>
                      <a:t>3.9 %</a:t>
                    </a:r>
                  </a:p>
                </c:rich>
              </c:tx>
              <c:dLblPos val="ctr"/>
              <c:showLegendKey val="0"/>
              <c:showVal val="1"/>
              <c:showCatName val="0"/>
              <c:showSerName val="0"/>
              <c:showPercent val="0"/>
              <c:showBubbleSize val="0"/>
            </c:dLbl>
            <c:dLbl>
              <c:idx val="5"/>
              <c:tx>
                <c:rich>
                  <a:bodyPr/>
                  <a:lstStyle/>
                  <a:p>
                    <a:pPr>
                      <a:defRPr sz="800">
                        <a:latin typeface="Nexa Book"/>
                      </a:defRPr>
                    </a:pPr>
                    <a:r>
                      <a:t>0.4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1.0</c:v>
                </c:pt>
                <c:pt idx="1">
                  <c:v>0.6902494984293558</c:v>
                </c:pt>
                <c:pt idx="2">
                  <c:v>0.16112785316356582</c:v>
                </c:pt>
                <c:pt idx="3">
                  <c:v>0.10472020034718174</c:v>
                </c:pt>
                <c:pt idx="4">
                  <c:v>0.03948211695359054</c:v>
                </c:pt>
                <c:pt idx="5">
                  <c:v>0.0035171246705369297</c:v>
                </c:pt>
                <c:pt idx="6">
                  <c:v>0.000903206435769232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8 %</a:t>
                    </a:r>
                  </a:p>
                </c:rich>
              </c:tx>
              <c:dLblPos val="ctr"/>
              <c:showLegendKey val="0"/>
              <c:showVal val="1"/>
              <c:showCatName val="0"/>
              <c:showSerName val="0"/>
              <c:showPercent val="0"/>
              <c:showBubbleSize val="0"/>
            </c:dLbl>
            <c:dLbl>
              <c:idx val="2"/>
              <c:tx>
                <c:rich>
                  <a:bodyPr/>
                  <a:lstStyle/>
                  <a:p>
                    <a:pPr>
                      <a:defRPr sz="800">
                        <a:latin typeface="Nexa Book"/>
                      </a:defRPr>
                    </a:pPr>
                    <a:r>
                      <a:t>19.0 %</a:t>
                    </a:r>
                  </a:p>
                </c:rich>
              </c:tx>
              <c:dLblPos val="ctr"/>
              <c:showLegendKey val="0"/>
              <c:showVal val="1"/>
              <c:showCatName val="0"/>
              <c:showSerName val="0"/>
              <c:showPercent val="0"/>
              <c:showBubbleSize val="0"/>
            </c:dLbl>
            <c:dLbl>
              <c:idx val="3"/>
              <c:tx>
                <c:rich>
                  <a:bodyPr/>
                  <a:lstStyle/>
                  <a:p>
                    <a:pPr>
                      <a:defRPr sz="800">
                        <a:latin typeface="Nexa Book"/>
                      </a:defRPr>
                    </a:pPr>
                    <a:r>
                      <a:t>9.9 %</a:t>
                    </a:r>
                  </a:p>
                </c:rich>
              </c:tx>
              <c:dLblPos val="ctr"/>
              <c:showLegendKey val="0"/>
              <c:showVal val="1"/>
              <c:showCatName val="0"/>
              <c:showSerName val="0"/>
              <c:showPercent val="0"/>
              <c:showBubbleSize val="0"/>
            </c:dLbl>
            <c:dLbl>
              <c:idx val="4"/>
              <c:tx>
                <c:rich>
                  <a:bodyPr/>
                  <a:lstStyle/>
                  <a:p>
                    <a:pPr>
                      <a:defRPr sz="800">
                        <a:latin typeface="Nexa Book"/>
                      </a:defRPr>
                    </a:pPr>
                    <a:r>
                      <a:t>4.3 %</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1.0</c:v>
                </c:pt>
                <c:pt idx="1">
                  <c:v>0.6684070422296352</c:v>
                </c:pt>
                <c:pt idx="2">
                  <c:v>0.1900881341077808</c:v>
                </c:pt>
                <c:pt idx="3">
                  <c:v>0.0988281144158613</c:v>
                </c:pt>
                <c:pt idx="4">
                  <c:v>0.04267670924672268</c:v>
                </c:pt>
                <c:pt idx="5">
                  <c:v>0.0</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40</a:t>
                    </a:r>
                  </a:p>
                </c:rich>
              </c:tx>
              <c:dLblPos val="ctr"/>
              <c:showLegendKey val="0"/>
              <c:showVal val="1"/>
              <c:showCatName val="0"/>
              <c:showSerName val="0"/>
              <c:showPercent val="0"/>
              <c:showBubbleSize val="0"/>
            </c:dLbl>
            <c:dLbl>
              <c:idx val="1"/>
              <c:tx>
                <c:rich>
                  <a:bodyPr/>
                  <a:lstStyle/>
                  <a:p>
                    <a:pPr>
                      <a:defRPr sz="800">
                        <a:latin typeface="Nexa Book"/>
                      </a:defRPr>
                    </a:pPr>
                    <a:r>
                      <a:t>235</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dLbl>
              <c:idx val="3"/>
              <c:tx>
                <c:rich>
                  <a:bodyPr/>
                  <a:lstStyle/>
                  <a:p>
                    <a:pPr>
                      <a:defRPr sz="800">
                        <a:latin typeface="Nexa Book"/>
                      </a:defRPr>
                    </a:pPr>
                    <a:r>
                      <a:t>36</a:t>
                    </a:r>
                  </a:p>
                </c:rich>
              </c:tx>
              <c:dLblPos val="ctr"/>
              <c:showLegendKey val="0"/>
              <c:showVal val="1"/>
              <c:showCatName val="0"/>
              <c:showSerName val="0"/>
              <c:showPercent val="0"/>
              <c:showBubbleSize val="0"/>
            </c:dLbl>
            <c:dLbl>
              <c:idx val="4"/>
              <c:tx>
                <c:rich>
                  <a:bodyPr/>
                  <a:lstStyle/>
                  <a:p>
                    <a:pPr>
                      <a:defRPr sz="800">
                        <a:latin typeface="Nexa Book"/>
                      </a:defRPr>
                    </a:pPr>
                    <a:r>
                      <a:t>13</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34012158.0</c:v>
                </c:pt>
                <c:pt idx="1">
                  <c:v>23476875.0</c:v>
                </c:pt>
                <c:pt idx="2">
                  <c:v>5480306.0</c:v>
                </c:pt>
                <c:pt idx="3">
                  <c:v>3561760.0</c:v>
                </c:pt>
                <c:pt idx="4">
                  <c:v>1342872.0</c:v>
                </c:pt>
                <c:pt idx="5">
                  <c:v>119625.0</c:v>
                </c:pt>
                <c:pt idx="6">
                  <c:v>3072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3</a:t>
                    </a:r>
                  </a:p>
                </c:rich>
              </c:tx>
              <c:dLblPos val="ctr"/>
              <c:showLegendKey val="0"/>
              <c:showVal val="1"/>
              <c:showCatName val="0"/>
              <c:showSerName val="0"/>
              <c:showPercent val="0"/>
              <c:showBubbleSize val="0"/>
            </c:dLbl>
            <c:dLbl>
              <c:idx val="1"/>
              <c:tx>
                <c:rich>
                  <a:bodyPr/>
                  <a:lstStyle/>
                  <a:p>
                    <a:pPr>
                      <a:defRPr sz="800">
                        <a:latin typeface="Nexa Book"/>
                      </a:defRPr>
                    </a:pPr>
                    <a:r>
                      <a:t>69</a:t>
                    </a:r>
                  </a:p>
                </c:rich>
              </c:tx>
              <c:dLblPos val="ctr"/>
              <c:showLegendKey val="0"/>
              <c:showVal val="1"/>
              <c:showCatName val="0"/>
              <c:showSerName val="0"/>
              <c:showPercent val="0"/>
              <c:showBubbleSize val="0"/>
            </c:dLbl>
            <c:dLbl>
              <c:idx val="2"/>
              <c:tx>
                <c:rich>
                  <a:bodyPr/>
                  <a:lstStyle/>
                  <a:p>
                    <a:pPr>
                      <a:defRPr sz="800">
                        <a:latin typeface="Nexa Book"/>
                      </a:defRPr>
                    </a:pPr>
                    <a:r>
                      <a:t>20</a:t>
                    </a:r>
                  </a:p>
                </c:rich>
              </c:tx>
              <c:dLblPos val="ctr"/>
              <c:showLegendKey val="0"/>
              <c:showVal val="1"/>
              <c:showCatName val="0"/>
              <c:showSerName val="0"/>
              <c:showPercent val="0"/>
              <c:showBubbleSize val="0"/>
            </c:dLbl>
            <c:dLbl>
              <c:idx val="3"/>
              <c:tx>
                <c:rich>
                  <a:bodyPr/>
                  <a:lstStyle/>
                  <a:p>
                    <a:pPr>
                      <a:defRPr sz="800">
                        <a:latin typeface="Nexa Book"/>
                      </a:defRPr>
                    </a:pPr>
                    <a:r>
                      <a:t>10</a:t>
                    </a:r>
                  </a:p>
                </c:rich>
              </c:tx>
              <c:dLblPos val="ctr"/>
              <c:showLegendKey val="0"/>
              <c:showVal val="1"/>
              <c:showCatName val="0"/>
              <c:showSerName val="0"/>
              <c:showPercent val="0"/>
              <c:showBubbleSize val="0"/>
            </c:dLbl>
            <c:dLbl>
              <c:idx val="4"/>
              <c:tx>
                <c:rich>
                  <a:bodyPr/>
                  <a:lstStyle/>
                  <a:p>
                    <a:pPr>
                      <a:defRPr sz="800">
                        <a:latin typeface="Nexa Book"/>
                      </a:defRPr>
                    </a:pPr>
                    <a:r>
                      <a:t>4</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10260046.0</c:v>
                </c:pt>
                <c:pt idx="1">
                  <c:v>6857887.0</c:v>
                </c:pt>
                <c:pt idx="2">
                  <c:v>1950313.0</c:v>
                </c:pt>
                <c:pt idx="3">
                  <c:v>1013981.0</c:v>
                </c:pt>
                <c:pt idx="4">
                  <c:v>437865.0</c:v>
                </c:pt>
                <c:pt idx="5">
                  <c:v>0.0</c:v>
                </c:pt>
                <c:pt idx="6">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dLbl>
              <c:idx val="3"/>
              <c:tx>
                <c:rich>
                  <a:bodyPr/>
                  <a:lstStyle/>
                  <a:p>
                    <a:pPr>
                      <a:defRPr sz="800">
                        <a:latin typeface="Nexa Book"/>
                      </a:defRPr>
                    </a:pPr>
                    <a:r>
                      <a:t>-0.2 %</a:t>
                    </a:r>
                  </a:p>
                </c:rich>
              </c:tx>
              <c:dLblPos val="ctr"/>
              <c:showLegendKey val="0"/>
              <c:showVal val="1"/>
              <c:showCatName val="0"/>
              <c:showSerName val="0"/>
              <c:showPercent val="0"/>
              <c:showBubbleSize val="0"/>
            </c:dLbl>
            <c:dLbl>
              <c:idx val="4"/>
              <c:tx>
                <c:rich>
                  <a:bodyPr/>
                  <a:lstStyle/>
                  <a:p>
                    <a:pPr>
                      <a:defRPr sz="800">
                        <a:latin typeface="Nexa Book"/>
                      </a:defRPr>
                    </a:pPr>
                    <a:r>
                      <a:t>0.2 %</a:t>
                    </a:r>
                  </a:p>
                </c:rich>
              </c:tx>
              <c:dLblPos val="ctr"/>
              <c:showLegendKey val="0"/>
              <c:showVal val="1"/>
              <c:showCatName val="0"/>
              <c:showSerName val="0"/>
              <c:showPercent val="0"/>
              <c:showBubbleSize val="0"/>
            </c:dLbl>
            <c:dLbl>
              <c:idx val="5"/>
              <c:tx>
                <c:rich>
                  <a:bodyPr/>
                  <a:lstStyle/>
                  <a:p>
                    <a:pPr>
                      <a:defRPr sz="800">
                        <a:latin typeface="Nexa Book"/>
                      </a:defRPr>
                    </a:pPr>
                    <a:r>
                      <a:t>0.2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0.0</c:v>
                </c:pt>
                <c:pt idx="1">
                  <c:v>0.012752878172507587</c:v>
                </c:pt>
                <c:pt idx="2">
                  <c:v>-0.013490060887202171</c:v>
                </c:pt>
                <c:pt idx="3">
                  <c:v>-0.0022584320632351162</c:v>
                </c:pt>
                <c:pt idx="4">
                  <c:v>0.002310559840535825</c:v>
                </c:pt>
                <c:pt idx="5">
                  <c:v>0.0018996673915954616</c:v>
                </c:pt>
                <c:pt idx="6">
                  <c:v>-0.00121461245420155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7 %</a:t>
                    </a:r>
                  </a:p>
                </c:rich>
              </c:tx>
              <c:dLblPos val="ctr"/>
              <c:showLegendKey val="0"/>
              <c:showVal val="1"/>
              <c:showCatName val="0"/>
              <c:showSerName val="0"/>
              <c:showPercent val="0"/>
              <c:showBubbleSize val="0"/>
            </c:dLbl>
            <c:dLbl>
              <c:idx val="2"/>
              <c:tx>
                <c:rich>
                  <a:bodyPr/>
                  <a:lstStyle/>
                  <a:p>
                    <a:pPr>
                      <a:defRPr sz="800">
                        <a:latin typeface="Nexa Book"/>
                      </a:defRPr>
                    </a:pPr>
                    <a:r>
                      <a:t>-5.2 %</a:t>
                    </a:r>
                  </a:p>
                </c:rich>
              </c:tx>
              <c:dLblPos val="ctr"/>
              <c:showLegendKey val="0"/>
              <c:showVal val="1"/>
              <c:showCatName val="0"/>
              <c:showSerName val="0"/>
              <c:showPercent val="0"/>
              <c:showBubbleSize val="0"/>
            </c:dLbl>
            <c:dLbl>
              <c:idx val="3"/>
              <c:tx>
                <c:rich>
                  <a:bodyPr/>
                  <a:lstStyle/>
                  <a:p>
                    <a:pPr>
                      <a:defRPr sz="800">
                        <a:latin typeface="Nexa Book"/>
                      </a:defRPr>
                    </a:pPr>
                    <a:r>
                      <a:t>0.3 %</a:t>
                    </a:r>
                  </a:p>
                </c:rich>
              </c:tx>
              <c:dLblPos val="ctr"/>
              <c:showLegendKey val="0"/>
              <c:showVal val="1"/>
              <c:showCatName val="0"/>
              <c:showSerName val="0"/>
              <c:showPercent val="0"/>
              <c:showBubbleSize val="0"/>
            </c:dLbl>
            <c:dLbl>
              <c:idx val="4"/>
              <c:tx>
                <c:rich>
                  <a:bodyPr/>
                  <a:lstStyle/>
                  <a:p>
                    <a:pPr>
                      <a:defRPr sz="800">
                        <a:latin typeface="Nexa Book"/>
                      </a:defRPr>
                    </a:pPr>
                    <a:r>
                      <a:t>1.2 %</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0.0</c:v>
                </c:pt>
                <c:pt idx="1">
                  <c:v>0.03746298230570366</c:v>
                </c:pt>
                <c:pt idx="2">
                  <c:v>-0.05177840687421778</c:v>
                </c:pt>
                <c:pt idx="3">
                  <c:v>0.002622852691311392</c:v>
                </c:pt>
                <c:pt idx="4">
                  <c:v>0.011692571877202726</c:v>
                </c:pt>
                <c:pt idx="5">
                  <c:v>0.0</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325834148242936</c:v>
                </c:pt>
                <c:pt idx="1">
                  <c:v>0.36321381296225486</c:v>
                </c:pt>
                <c:pt idx="2">
                  <c:v>0.09973116069091448</c:v>
                </c:pt>
                <c:pt idx="3">
                  <c:v>0.0044716115225370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0.5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7.5 %</a:t>
                    </a:r>
                  </a:p>
                </c:rich>
              </c:tx>
              <c:dLblPos val="ctr"/>
              <c:showLegendKey val="0"/>
              <c:showVal val="1"/>
              <c:showCatName val="0"/>
              <c:showSerName val="0"/>
              <c:showPercent val="0"/>
              <c:showBubbleSize val="0"/>
            </c:dLbl>
            <c:dLbl>
              <c:idx val="4"/>
              <c:tx>
                <c:rich>
                  <a:bodyPr/>
                  <a:lstStyle/>
                  <a:p>
                    <a:pPr>
                      <a:defRPr sz="800">
                        <a:latin typeface="Nexa Book"/>
                      </a:defRPr>
                    </a:pPr>
                    <a:r>
                      <a:t>8.9 %</a:t>
                    </a:r>
                  </a:p>
                </c:rich>
              </c:tx>
              <c:dLblPos val="ctr"/>
              <c:showLegendKey val="0"/>
              <c:showVal val="1"/>
              <c:showCatName val="0"/>
              <c:showSerName val="0"/>
              <c:showPercent val="0"/>
              <c:showBubbleSize val="0"/>
            </c:dLbl>
            <c:dLbl>
              <c:idx val="5"/>
              <c:tx>
                <c:rich>
                  <a:bodyPr/>
                  <a:lstStyle/>
                  <a:p>
                    <a:pPr>
                      <a:defRPr sz="800">
                        <a:latin typeface="Nexa Book"/>
                      </a:defRPr>
                    </a:pPr>
                    <a:r>
                      <a:t>3.3 %</a:t>
                    </a:r>
                  </a:p>
                </c:rich>
              </c:tx>
              <c:dLblPos val="ctr"/>
              <c:showLegendKey val="0"/>
              <c:showVal val="1"/>
              <c:showCatName val="0"/>
              <c:showSerName val="0"/>
              <c:showPercent val="0"/>
              <c:showBubbleSize val="0"/>
            </c:dLbl>
            <c:dLbl>
              <c:idx val="6"/>
              <c:tx>
                <c:rich>
                  <a:bodyPr/>
                  <a:lstStyle/>
                  <a:p>
                    <a:pPr>
                      <a:defRPr sz="800">
                        <a:latin typeface="Nexa Book"/>
                      </a:defRPr>
                    </a:pPr>
                    <a:r>
                      <a:t>1.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1.0</c:v>
                </c:pt>
                <c:pt idx="1">
                  <c:v>0.5045090188424527</c:v>
                </c:pt>
                <c:pt idx="2">
                  <c:v>0.18149606559169207</c:v>
                </c:pt>
                <c:pt idx="3">
                  <c:v>0.1750819269446</c:v>
                </c:pt>
                <c:pt idx="4">
                  <c:v>0.08896344122455797</c:v>
                </c:pt>
                <c:pt idx="5">
                  <c:v>0.033316987042186774</c:v>
                </c:pt>
                <c:pt idx="6">
                  <c:v>0.0166325603545104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8.8 %</a:t>
                    </a:r>
                  </a:p>
                </c:rich>
              </c:tx>
              <c:dLblPos val="ctr"/>
              <c:showLegendKey val="0"/>
              <c:showVal val="1"/>
              <c:showCatName val="0"/>
              <c:showSerName val="0"/>
              <c:showPercent val="0"/>
              <c:showBubbleSize val="0"/>
            </c:dLbl>
            <c:dLbl>
              <c:idx val="2"/>
              <c:tx>
                <c:rich>
                  <a:bodyPr/>
                  <a:lstStyle/>
                  <a:p>
                    <a:pPr>
                      <a:defRPr sz="800">
                        <a:latin typeface="Nexa Book"/>
                      </a:defRPr>
                    </a:pPr>
                    <a:r>
                      <a:t>23.5 %</a:t>
                    </a:r>
                  </a:p>
                </c:rich>
              </c:tx>
              <c:dLblPos val="ctr"/>
              <c:showLegendKey val="0"/>
              <c:showVal val="1"/>
              <c:showCatName val="0"/>
              <c:showSerName val="0"/>
              <c:showPercent val="0"/>
              <c:showBubbleSize val="0"/>
            </c:dLbl>
            <c:dLbl>
              <c:idx val="3"/>
              <c:tx>
                <c:rich>
                  <a:bodyPr/>
                  <a:lstStyle/>
                  <a:p>
                    <a:pPr>
                      <a:defRPr sz="800">
                        <a:latin typeface="Nexa Book"/>
                      </a:defRPr>
                    </a:pPr>
                    <a:r>
                      <a:t>0.1 %</a:t>
                    </a:r>
                  </a:p>
                </c:rich>
              </c:tx>
              <c:dLblPos val="ctr"/>
              <c:showLegendKey val="0"/>
              <c:showVal val="1"/>
              <c:showCatName val="0"/>
              <c:showSerName val="0"/>
              <c:showPercent val="0"/>
              <c:showBubbleSize val="0"/>
            </c:dLbl>
            <c:dLbl>
              <c:idx val="4"/>
              <c:tx>
                <c:rich>
                  <a:bodyPr/>
                  <a:lstStyle/>
                  <a:p>
                    <a:pPr>
                      <a:defRPr sz="800">
                        <a:latin typeface="Nexa Book"/>
                      </a:defRPr>
                    </a:pPr>
                    <a:r>
                      <a:t>10.1 %</a:t>
                    </a:r>
                  </a:p>
                </c:rich>
              </c:tx>
              <c:dLblPos val="ctr"/>
              <c:showLegendKey val="0"/>
              <c:showVal val="1"/>
              <c:showCatName val="0"/>
              <c:showSerName val="0"/>
              <c:showPercent val="0"/>
              <c:showBubbleSize val="0"/>
            </c:dLbl>
            <c:dLbl>
              <c:idx val="5"/>
              <c:tx>
                <c:rich>
                  <a:bodyPr/>
                  <a:lstStyle/>
                  <a:p>
                    <a:pPr>
                      <a:defRPr sz="800">
                        <a:latin typeface="Nexa Book"/>
                      </a:defRPr>
                    </a:pPr>
                    <a:r>
                      <a:t>5.1 %</a:t>
                    </a:r>
                  </a:p>
                </c:rich>
              </c:tx>
              <c:dLblPos val="ctr"/>
              <c:showLegendKey val="0"/>
              <c:showVal val="1"/>
              <c:showCatName val="0"/>
              <c:showSerName val="0"/>
              <c:showPercent val="0"/>
              <c:showBubbleSize val="0"/>
            </c:dLbl>
            <c:dLbl>
              <c:idx val="6"/>
              <c:tx>
                <c:rich>
                  <a:bodyPr/>
                  <a:lstStyle/>
                  <a:p>
                    <a:pPr>
                      <a:defRPr sz="800">
                        <a:latin typeface="Nexa Book"/>
                      </a:defRPr>
                    </a:pPr>
                    <a:r>
                      <a:t>2.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1.0</c:v>
                </c:pt>
                <c:pt idx="1">
                  <c:v>0.5881861824253809</c:v>
                </c:pt>
                <c:pt idx="2">
                  <c:v>0.2349941855264335</c:v>
                </c:pt>
                <c:pt idx="3">
                  <c:v>0.0009541700211706473</c:v>
                </c:pt>
                <c:pt idx="4">
                  <c:v>0.10063014978481478</c:v>
                </c:pt>
                <c:pt idx="5">
                  <c:v>0.051321426086610805</c:v>
                </c:pt>
                <c:pt idx="6">
                  <c:v>0.023913886155589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78</a:t>
                    </a:r>
                  </a:p>
                </c:rich>
              </c:tx>
              <c:dLblPos val="ctr"/>
              <c:showLegendKey val="0"/>
              <c:showVal val="1"/>
              <c:showCatName val="0"/>
              <c:showSerName val="0"/>
              <c:showPercent val="0"/>
              <c:showBubbleSize val="0"/>
            </c:dLbl>
            <c:dLbl>
              <c:idx val="1"/>
              <c:tx>
                <c:rich>
                  <a:bodyPr/>
                  <a:lstStyle/>
                  <a:p>
                    <a:pPr>
                      <a:defRPr sz="800">
                        <a:latin typeface="Nexa Book"/>
                      </a:defRPr>
                    </a:pPr>
                    <a:r>
                      <a:t>796</a:t>
                    </a:r>
                  </a:p>
                </c:rich>
              </c:tx>
              <c:dLblPos val="ctr"/>
              <c:showLegendKey val="0"/>
              <c:showVal val="1"/>
              <c:showCatName val="0"/>
              <c:showSerName val="0"/>
              <c:showPercent val="0"/>
              <c:showBubbleSize val="0"/>
            </c:dLbl>
            <c:dLbl>
              <c:idx val="2"/>
              <c:tx>
                <c:rich>
                  <a:bodyPr/>
                  <a:lstStyle/>
                  <a:p>
                    <a:pPr>
                      <a:defRPr sz="800">
                        <a:latin typeface="Nexa Book"/>
                      </a:defRPr>
                    </a:pPr>
                    <a:r>
                      <a:t>286</a:t>
                    </a:r>
                  </a:p>
                </c:rich>
              </c:tx>
              <c:dLblPos val="ctr"/>
              <c:showLegendKey val="0"/>
              <c:showVal val="1"/>
              <c:showCatName val="0"/>
              <c:showSerName val="0"/>
              <c:showPercent val="0"/>
              <c:showBubbleSize val="0"/>
            </c:dLbl>
            <c:dLbl>
              <c:idx val="3"/>
              <c:tx>
                <c:rich>
                  <a:bodyPr/>
                  <a:lstStyle/>
                  <a:p>
                    <a:pPr>
                      <a:defRPr sz="800">
                        <a:latin typeface="Nexa Book"/>
                      </a:defRPr>
                    </a:pPr>
                    <a:r>
                      <a:t>276</a:t>
                    </a:r>
                  </a:p>
                </c:rich>
              </c:tx>
              <c:dLblPos val="ctr"/>
              <c:showLegendKey val="0"/>
              <c:showVal val="1"/>
              <c:showCatName val="0"/>
              <c:showSerName val="0"/>
              <c:showPercent val="0"/>
              <c:showBubbleSize val="0"/>
            </c:dLbl>
            <c:dLbl>
              <c:idx val="4"/>
              <c:tx>
                <c:rich>
                  <a:bodyPr/>
                  <a:lstStyle/>
                  <a:p>
                    <a:pPr>
                      <a:defRPr sz="800">
                        <a:latin typeface="Nexa Book"/>
                      </a:defRPr>
                    </a:pPr>
                    <a:r>
                      <a:t>140</a:t>
                    </a:r>
                  </a:p>
                </c:rich>
              </c:tx>
              <c:dLblPos val="ctr"/>
              <c:showLegendKey val="0"/>
              <c:showVal val="1"/>
              <c:showCatName val="0"/>
              <c:showSerName val="0"/>
              <c:showPercent val="0"/>
              <c:showBubbleSize val="0"/>
            </c:dLbl>
            <c:dLbl>
              <c:idx val="5"/>
              <c:tx>
                <c:rich>
                  <a:bodyPr/>
                  <a:lstStyle/>
                  <a:p>
                    <a:pPr>
                      <a:defRPr sz="800">
                        <a:latin typeface="Nexa Book"/>
                      </a:defRPr>
                    </a:pPr>
                    <a:r>
                      <a:t>53</a:t>
                    </a:r>
                  </a:p>
                </c:rich>
              </c:tx>
              <c:dLblPos val="ctr"/>
              <c:showLegendKey val="0"/>
              <c:showVal val="1"/>
              <c:showCatName val="0"/>
              <c:showSerName val="0"/>
              <c:showPercent val="0"/>
              <c:showBubbleSize val="0"/>
            </c:dLbl>
            <c:dLbl>
              <c:idx val="6"/>
              <c:tx>
                <c:rich>
                  <a:bodyPr/>
                  <a:lstStyle/>
                  <a:p>
                    <a:pPr>
                      <a:defRPr sz="800">
                        <a:latin typeface="Nexa Book"/>
                      </a:defRPr>
                    </a:pPr>
                    <a:r>
                      <a:t>2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157809498.0</c:v>
                </c:pt>
                <c:pt idx="1">
                  <c:v>79616315.0</c:v>
                </c:pt>
                <c:pt idx="2">
                  <c:v>28641803.0</c:v>
                </c:pt>
                <c:pt idx="3">
                  <c:v>27629591.0</c:v>
                </c:pt>
                <c:pt idx="4">
                  <c:v>14039276.0</c:v>
                </c:pt>
                <c:pt idx="5">
                  <c:v>5257737.0</c:v>
                </c:pt>
                <c:pt idx="6">
                  <c:v>262477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0.5</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0.2</a:t>
                    </a:r>
                  </a:p>
                </c:rich>
              </c:tx>
              <c:dLblPos val="ctr"/>
              <c:showLegendKey val="0"/>
              <c:showVal val="1"/>
              <c:showCatName val="0"/>
              <c:showSerName val="0"/>
              <c:showPercent val="0"/>
              <c:showBubbleSize val="0"/>
            </c:dLbl>
            <c:dLbl>
              <c:idx val="5"/>
              <c:tx>
                <c:rich>
                  <a:bodyPr/>
                  <a:lstStyle/>
                  <a:p>
                    <a:pPr>
                      <a:defRPr sz="800">
                        <a:latin typeface="Nexa Book"/>
                      </a:defRPr>
                    </a:pPr>
                    <a:r>
                      <a:t>0.1</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201222.0</c:v>
                </c:pt>
                <c:pt idx="1">
                  <c:v>118356.0</c:v>
                </c:pt>
                <c:pt idx="2">
                  <c:v>47286.0</c:v>
                </c:pt>
                <c:pt idx="3">
                  <c:v>192.0</c:v>
                </c:pt>
                <c:pt idx="4">
                  <c:v>20249.0</c:v>
                </c:pt>
                <c:pt idx="5">
                  <c:v>10327.0</c:v>
                </c:pt>
                <c:pt idx="6">
                  <c:v>481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 %</a:t>
                    </a:r>
                  </a:p>
                </c:rich>
              </c:tx>
              <c:dLblPos val="ctr"/>
              <c:showLegendKey val="0"/>
              <c:showVal val="1"/>
              <c:showCatName val="0"/>
              <c:showSerName val="0"/>
              <c:showPercent val="0"/>
              <c:showBubbleSize val="0"/>
            </c:dLbl>
            <c:dLbl>
              <c:idx val="2"/>
              <c:tx>
                <c:rich>
                  <a:bodyPr/>
                  <a:lstStyle/>
                  <a:p>
                    <a:pPr>
                      <a:defRPr sz="800">
                        <a:latin typeface="Nexa Book"/>
                      </a:defRPr>
                    </a:pPr>
                    <a:r>
                      <a:t>1.0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dLbl>
              <c:idx val="4"/>
              <c:tx>
                <c:rich>
                  <a:bodyPr/>
                  <a:lstStyle/>
                  <a:p>
                    <a:pPr>
                      <a:defRPr sz="800">
                        <a:latin typeface="Nexa Book"/>
                      </a:defRPr>
                    </a:pPr>
                    <a:r>
                      <a:t>-0.5 %</a:t>
                    </a:r>
                  </a:p>
                </c:rich>
              </c:tx>
              <c:dLblPos val="ctr"/>
              <c:showLegendKey val="0"/>
              <c:showVal val="1"/>
              <c:showCatName val="0"/>
              <c:showSerName val="0"/>
              <c:showPercent val="0"/>
              <c:showBubbleSize val="0"/>
            </c:dLbl>
            <c:dLbl>
              <c:idx val="5"/>
              <c:tx>
                <c:rich>
                  <a:bodyPr/>
                  <a:lstStyle/>
                  <a:p>
                    <a:pPr>
                      <a:defRPr sz="800">
                        <a:latin typeface="Nexa Book"/>
                      </a:defRPr>
                    </a:pPr>
                    <a:r>
                      <a:t>-0.0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0.0</c:v>
                </c:pt>
                <c:pt idx="1">
                  <c:v>-0.01594797327510522</c:v>
                </c:pt>
                <c:pt idx="2">
                  <c:v>0.010095071517394333</c:v>
                </c:pt>
                <c:pt idx="3">
                  <c:v>0.00909623026664505</c:v>
                </c:pt>
                <c:pt idx="4">
                  <c:v>-0.005410662318760931</c:v>
                </c:pt>
                <c:pt idx="5">
                  <c:v>-2.3109472132444575e-05</c:v>
                </c:pt>
                <c:pt idx="6">
                  <c:v>0.0021904432819591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6.1 %</a:t>
                    </a:r>
                  </a:p>
                </c:rich>
              </c:tx>
              <c:dLblPos val="ctr"/>
              <c:showLegendKey val="0"/>
              <c:showVal val="1"/>
              <c:showCatName val="0"/>
              <c:showSerName val="0"/>
              <c:showPercent val="0"/>
              <c:showBubbleSize val="0"/>
            </c:dLbl>
            <c:dLbl>
              <c:idx val="2"/>
              <c:tx>
                <c:rich>
                  <a:bodyPr/>
                  <a:lstStyle/>
                  <a:p>
                    <a:pPr>
                      <a:defRPr sz="800">
                        <a:latin typeface="Nexa Book"/>
                      </a:defRPr>
                    </a:pPr>
                    <a:r>
                      <a:t>18.2 %</a:t>
                    </a:r>
                  </a:p>
                </c:rich>
              </c:tx>
              <c:dLblPos val="ctr"/>
              <c:showLegendKey val="0"/>
              <c:showVal val="1"/>
              <c:showCatName val="0"/>
              <c:showSerName val="0"/>
              <c:showPercent val="0"/>
              <c:showBubbleSize val="0"/>
            </c:dLbl>
            <c:dLbl>
              <c:idx val="3"/>
              <c:tx>
                <c:rich>
                  <a:bodyPr/>
                  <a:lstStyle/>
                  <a:p>
                    <a:pPr>
                      <a:defRPr sz="800">
                        <a:latin typeface="Nexa Book"/>
                      </a:defRPr>
                    </a:pPr>
                    <a:r>
                      <a:t>-15.0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2.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0.0</c:v>
                </c:pt>
                <c:pt idx="1">
                  <c:v>-0.06090260986788876</c:v>
                </c:pt>
                <c:pt idx="2">
                  <c:v>0.18184598744688185</c:v>
                </c:pt>
                <c:pt idx="3">
                  <c:v>-0.15023477173728178</c:v>
                </c:pt>
                <c:pt idx="4">
                  <c:v>-0.0007287521214507514</c:v>
                </c:pt>
                <c:pt idx="5">
                  <c:v>0.007256471853504344</c:v>
                </c:pt>
                <c:pt idx="6">
                  <c:v>0.0227636744262351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0851489263772125</c:v>
                </c:pt>
                <c:pt idx="1">
                  <c:v>0.03426833822110287</c:v>
                </c:pt>
                <c:pt idx="2">
                  <c:v>-0.0055958405822684465</c:v>
                </c:pt>
                <c:pt idx="3">
                  <c:v>0.002178991624937783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325758805808719</c:v>
                </c:pt>
                <c:pt idx="1">
                  <c:v>0.11196426059334602</c:v>
                </c:pt>
                <c:pt idx="2">
                  <c:v>0.1066954652340138</c:v>
                </c:pt>
                <c:pt idx="3">
                  <c:v>0.10649116547173439</c:v>
                </c:pt>
                <c:pt idx="4">
                  <c:v>0.09973116069091448</c:v>
                </c:pt>
                <c:pt idx="5">
                  <c:v>0.03479697934677425</c:v>
                </c:pt>
                <c:pt idx="6">
                  <c:v>0.003265942316386397</c:v>
                </c:pt>
                <c:pt idx="7">
                  <c:v>0.0044791457659587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37.6 %</a:t>
                    </a:r>
                  </a:p>
                </c:rich>
              </c:tx>
              <c:dLblPos val="ctr"/>
              <c:showLegendKey val="0"/>
              <c:showVal val="1"/>
              <c:showCatName val="0"/>
              <c:showSerName val="0"/>
              <c:showPercent val="0"/>
              <c:showBubbleSize val="0"/>
            </c:dLbl>
            <c:dLbl>
              <c:idx val="2"/>
              <c:tx>
                <c:rich>
                  <a:bodyPr/>
                  <a:lstStyle/>
                  <a:p>
                    <a:pPr>
                      <a:defRPr sz="800">
                        <a:latin typeface="Nexa Book"/>
                      </a:defRPr>
                    </a:pPr>
                    <a:r>
                      <a:t>36.7 %</a:t>
                    </a:r>
                  </a:p>
                </c:rich>
              </c:tx>
              <c:dLblPos val="ctr"/>
              <c:showLegendKey val="0"/>
              <c:showVal val="1"/>
              <c:showCatName val="0"/>
              <c:showSerName val="0"/>
              <c:showPercent val="0"/>
              <c:showBubbleSize val="0"/>
            </c:dLbl>
            <c:dLbl>
              <c:idx val="3"/>
              <c:tx>
                <c:rich>
                  <a:bodyPr/>
                  <a:lstStyle/>
                  <a:p>
                    <a:pPr>
                      <a:defRPr sz="800">
                        <a:latin typeface="Nexa Book"/>
                      </a:defRPr>
                    </a:pPr>
                    <a:r>
                      <a:t>15.9 %</a:t>
                    </a:r>
                  </a:p>
                </c:rich>
              </c:tx>
              <c:dLblPos val="ctr"/>
              <c:showLegendKey val="0"/>
              <c:showVal val="1"/>
              <c:showCatName val="0"/>
              <c:showSerName val="0"/>
              <c:showPercent val="0"/>
              <c:showBubbleSize val="0"/>
            </c:dLbl>
            <c:dLbl>
              <c:idx val="4"/>
              <c:tx>
                <c:rich>
                  <a:bodyPr/>
                  <a:lstStyle/>
                  <a:p>
                    <a:pPr>
                      <a:defRPr sz="800">
                        <a:latin typeface="Nexa Book"/>
                      </a:defRPr>
                    </a:pPr>
                    <a:r>
                      <a:t>6.9 %</a:t>
                    </a:r>
                  </a:p>
                </c:rich>
              </c:tx>
              <c:dLblPos val="ctr"/>
              <c:showLegendKey val="0"/>
              <c:showVal val="1"/>
              <c:showCatName val="0"/>
              <c:showSerName val="0"/>
              <c:showPercent val="0"/>
              <c:showBubbleSize val="0"/>
            </c:dLbl>
            <c:dLbl>
              <c:idx val="5"/>
              <c:tx>
                <c:rich>
                  <a:bodyPr/>
                  <a:lstStyle/>
                  <a:p>
                    <a:pPr>
                      <a:defRPr sz="800">
                        <a:latin typeface="Nexa Book"/>
                      </a:defRPr>
                    </a:pPr>
                    <a:r>
                      <a:t>2.4 %</a:t>
                    </a:r>
                  </a:p>
                </c:rich>
              </c:tx>
              <c:dLblPos val="ctr"/>
              <c:showLegendKey val="0"/>
              <c:showVal val="1"/>
              <c:showCatName val="0"/>
              <c:showSerName val="0"/>
              <c:showPercent val="0"/>
              <c:showBubbleSize val="0"/>
            </c:dLbl>
            <c:dLbl>
              <c:idx val="6"/>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0</c:v>
                </c:pt>
                <c:pt idx="1">
                  <c:v>0.3763666914688128</c:v>
                </c:pt>
                <c:pt idx="2">
                  <c:v>0.36711117025219814</c:v>
                </c:pt>
                <c:pt idx="3">
                  <c:v>0.15873506050636846</c:v>
                </c:pt>
                <c:pt idx="4">
                  <c:v>0.0691096294619454</c:v>
                </c:pt>
                <c:pt idx="5">
                  <c:v>0.024275177823081973</c:v>
                </c:pt>
                <c:pt idx="6">
                  <c:v>0.0044022704875932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7 %</a:t>
                    </a:r>
                  </a:p>
                </c:rich>
              </c:tx>
              <c:dLblPos val="ctr"/>
              <c:showLegendKey val="0"/>
              <c:showVal val="1"/>
              <c:showCatName val="0"/>
              <c:showSerName val="0"/>
              <c:showPercent val="0"/>
              <c:showBubbleSize val="0"/>
            </c:dLbl>
            <c:dLbl>
              <c:idx val="2"/>
              <c:tx>
                <c:rich>
                  <a:bodyPr/>
                  <a:lstStyle/>
                  <a:p>
                    <a:pPr>
                      <a:defRPr sz="800">
                        <a:latin typeface="Nexa Book"/>
                      </a:defRPr>
                    </a:pPr>
                    <a:r>
                      <a:t>55.2 %</a:t>
                    </a:r>
                  </a:p>
                </c:rich>
              </c:tx>
              <c:dLblPos val="ctr"/>
              <c:showLegendKey val="0"/>
              <c:showVal val="1"/>
              <c:showCatName val="0"/>
              <c:showSerName val="0"/>
              <c:showPercent val="0"/>
              <c:showBubbleSize val="0"/>
            </c:dLbl>
            <c:dLbl>
              <c:idx val="3"/>
              <c:tx>
                <c:rich>
                  <a:bodyPr/>
                  <a:lstStyle/>
                  <a:p>
                    <a:pPr>
                      <a:defRPr sz="800">
                        <a:latin typeface="Nexa Book"/>
                      </a:defRPr>
                    </a:pPr>
                    <a:r>
                      <a:t>25.9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8.4 %</a:t>
                    </a:r>
                  </a:p>
                </c:rich>
              </c:tx>
              <c:dLblPos val="ctr"/>
              <c:showLegendKey val="0"/>
              <c:showVal val="1"/>
              <c:showCatName val="0"/>
              <c:showSerName val="0"/>
              <c:showPercent val="0"/>
              <c:showBubbleSize val="0"/>
            </c:dLbl>
            <c:dLbl>
              <c:idx val="6"/>
              <c:tx>
                <c:rich>
                  <a:bodyPr/>
                  <a:lstStyle/>
                  <a:p>
                    <a:pPr>
                      <a:defRPr sz="800">
                        <a:latin typeface="Nexa Book"/>
                      </a:defRPr>
                    </a:pPr>
                    <a:r>
                      <a:t>1.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0</c:v>
                </c:pt>
                <c:pt idx="1">
                  <c:v>0.0866259406491485</c:v>
                </c:pt>
                <c:pt idx="2">
                  <c:v>0.5522552204638658</c:v>
                </c:pt>
                <c:pt idx="3">
                  <c:v>0.25889262632231186</c:v>
                </c:pt>
                <c:pt idx="4">
                  <c:v>0.0</c:v>
                </c:pt>
                <c:pt idx="5">
                  <c:v>0.08375120802380717</c:v>
                </c:pt>
                <c:pt idx="6">
                  <c:v>0.018475004540866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13</a:t>
                    </a:r>
                  </a:p>
                </c:rich>
              </c:tx>
              <c:dLblPos val="ctr"/>
              <c:showLegendKey val="0"/>
              <c:showVal val="1"/>
              <c:showCatName val="0"/>
              <c:showSerName val="0"/>
              <c:showPercent val="0"/>
              <c:showBubbleSize val="0"/>
            </c:dLbl>
            <c:dLbl>
              <c:idx val="1"/>
              <c:tx>
                <c:rich>
                  <a:bodyPr/>
                  <a:lstStyle/>
                  <a:p>
                    <a:pPr>
                      <a:defRPr sz="800">
                        <a:latin typeface="Nexa Book"/>
                      </a:defRPr>
                    </a:pPr>
                    <a:r>
                      <a:t>43</a:t>
                    </a:r>
                  </a:p>
                </c:rich>
              </c:tx>
              <c:dLblPos val="ctr"/>
              <c:showLegendKey val="0"/>
              <c:showVal val="1"/>
              <c:showCatName val="0"/>
              <c:showSerName val="0"/>
              <c:showPercent val="0"/>
              <c:showBubbleSize val="0"/>
            </c:dLbl>
            <c:dLbl>
              <c:idx val="2"/>
              <c:tx>
                <c:rich>
                  <a:bodyPr/>
                  <a:lstStyle/>
                  <a:p>
                    <a:pPr>
                      <a:defRPr sz="800">
                        <a:latin typeface="Nexa Book"/>
                      </a:defRPr>
                    </a:pPr>
                    <a:r>
                      <a:t>42</a:t>
                    </a:r>
                  </a:p>
                </c:rich>
              </c:tx>
              <c:dLblPos val="ctr"/>
              <c:showLegendKey val="0"/>
              <c:showVal val="1"/>
              <c:showCatName val="0"/>
              <c:showSerName val="0"/>
              <c:showPercent val="0"/>
              <c:showBubbleSize val="0"/>
            </c:dLbl>
            <c:dLbl>
              <c:idx val="3"/>
              <c:tx>
                <c:rich>
                  <a:bodyPr/>
                  <a:lstStyle/>
                  <a:p>
                    <a:pPr>
                      <a:defRPr sz="800">
                        <a:latin typeface="Nexa Book"/>
                      </a:defRPr>
                    </a:pPr>
                    <a:r>
                      <a:t>18</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3</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1317569.0</c:v>
                </c:pt>
                <c:pt idx="1">
                  <c:v>4259556.0</c:v>
                </c:pt>
                <c:pt idx="2">
                  <c:v>4154806.0</c:v>
                </c:pt>
                <c:pt idx="3">
                  <c:v>1796495.0</c:v>
                </c:pt>
                <c:pt idx="4">
                  <c:v>782153.0</c:v>
                </c:pt>
                <c:pt idx="5">
                  <c:v>274736.0</c:v>
                </c:pt>
                <c:pt idx="6">
                  <c:v>4982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6</a:t>
                    </a:r>
                  </a:p>
                </c:rich>
              </c:tx>
              <c:dLblPos val="ctr"/>
              <c:showLegendKey val="0"/>
              <c:showVal val="1"/>
              <c:showCatName val="0"/>
              <c:showSerName val="0"/>
              <c:showPercent val="0"/>
              <c:showBubbleSize val="0"/>
            </c:dLbl>
            <c:dLbl>
              <c:idx val="1"/>
              <c:tx>
                <c:rich>
                  <a:bodyPr/>
                  <a:lstStyle/>
                  <a:p>
                    <a:pPr>
                      <a:defRPr sz="800">
                        <a:latin typeface="Nexa Book"/>
                      </a:defRPr>
                    </a:pPr>
                    <a:r>
                      <a:t>2</a:t>
                    </a:r>
                  </a:p>
                </c:rich>
              </c:tx>
              <c:dLblPos val="ctr"/>
              <c:showLegendKey val="0"/>
              <c:showVal val="1"/>
              <c:showCatName val="0"/>
              <c:showSerName val="0"/>
              <c:showPercent val="0"/>
              <c:showBubbleSize val="0"/>
            </c:dLbl>
            <c:dLbl>
              <c:idx val="2"/>
              <c:tx>
                <c:rich>
                  <a:bodyPr/>
                  <a:lstStyle/>
                  <a:p>
                    <a:pPr>
                      <a:defRPr sz="800">
                        <a:latin typeface="Nexa Book"/>
                      </a:defRPr>
                    </a:pPr>
                    <a:r>
                      <a:t>14</a:t>
                    </a:r>
                  </a:p>
                </c:rich>
              </c:tx>
              <c:dLblPos val="ctr"/>
              <c:showLegendKey val="0"/>
              <c:showVal val="1"/>
              <c:showCatName val="0"/>
              <c:showSerName val="0"/>
              <c:showPercent val="0"/>
              <c:showBubbleSize val="0"/>
            </c:dLbl>
            <c:dLbl>
              <c:idx val="3"/>
              <c:tx>
                <c:rich>
                  <a:bodyPr/>
                  <a:lstStyle/>
                  <a:p>
                    <a:pPr>
                      <a:defRPr sz="800">
                        <a:latin typeface="Nexa Book"/>
                      </a:defRPr>
                    </a:pPr>
                    <a:r>
                      <a:t>7</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2</a:t>
                    </a:r>
                  </a:p>
                </c:rich>
              </c:tx>
              <c:dLblPos val="ctr"/>
              <c:showLegendKey val="0"/>
              <c:showVal val="1"/>
              <c:showCatName val="0"/>
              <c:showSerName val="0"/>
              <c:showPercent val="0"/>
              <c:showBubbleSize val="0"/>
            </c:dLbl>
            <c:dLbl>
              <c:idx val="6"/>
              <c:tx>
                <c:rich>
                  <a:bodyPr/>
                  <a:lstStyle/>
                  <a:p>
                    <a:pPr>
                      <a:defRPr sz="800">
                        <a:latin typeface="Nexa Book"/>
                      </a:defRPr>
                    </a:pPr>
                    <a:r>
                      <a:t>0.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2609634.0</c:v>
                </c:pt>
                <c:pt idx="1">
                  <c:v>226062.0</c:v>
                </c:pt>
                <c:pt idx="2">
                  <c:v>1441184.0</c:v>
                </c:pt>
                <c:pt idx="3">
                  <c:v>675615.0</c:v>
                </c:pt>
                <c:pt idx="4">
                  <c:v>0.0</c:v>
                </c:pt>
                <c:pt idx="5">
                  <c:v>218560.0</c:v>
                </c:pt>
                <c:pt idx="6">
                  <c:v>48213.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8.5 %</a:t>
                    </a:r>
                  </a:p>
                </c:rich>
              </c:tx>
              <c:dLblPos val="ctr"/>
              <c:showLegendKey val="0"/>
              <c:showVal val="1"/>
              <c:showCatName val="0"/>
              <c:showSerName val="0"/>
              <c:showPercent val="0"/>
              <c:showBubbleSize val="0"/>
            </c:dLbl>
            <c:dLbl>
              <c:idx val="2"/>
              <c:tx>
                <c:rich>
                  <a:bodyPr/>
                  <a:lstStyle/>
                  <a:p>
                    <a:pPr>
                      <a:defRPr sz="800">
                        <a:latin typeface="Nexa Book"/>
                      </a:defRPr>
                    </a:pPr>
                    <a:r>
                      <a:t>14.9 %</a:t>
                    </a:r>
                  </a:p>
                </c:rich>
              </c:tx>
              <c:dLblPos val="ctr"/>
              <c:showLegendKey val="0"/>
              <c:showVal val="1"/>
              <c:showCatName val="0"/>
              <c:showSerName val="0"/>
              <c:showPercent val="0"/>
              <c:showBubbleSize val="0"/>
            </c:dLbl>
            <c:dLbl>
              <c:idx val="3"/>
              <c:tx>
                <c:rich>
                  <a:bodyPr/>
                  <a:lstStyle/>
                  <a:p>
                    <a:pPr>
                      <a:defRPr sz="800">
                        <a:latin typeface="Nexa Book"/>
                      </a:defRPr>
                    </a:pPr>
                    <a:r>
                      <a:t>1.6 %</a:t>
                    </a:r>
                  </a:p>
                </c:rich>
              </c:tx>
              <c:dLblPos val="ctr"/>
              <c:showLegendKey val="0"/>
              <c:showVal val="1"/>
              <c:showCatName val="0"/>
              <c:showSerName val="0"/>
              <c:showPercent val="0"/>
              <c:showBubbleSize val="0"/>
            </c:dLbl>
            <c:dLbl>
              <c:idx val="4"/>
              <c:tx>
                <c:rich>
                  <a:bodyPr/>
                  <a:lstStyle/>
                  <a:p>
                    <a:pPr>
                      <a:defRPr sz="800">
                        <a:latin typeface="Nexa Book"/>
                      </a:defRPr>
                    </a:pPr>
                    <a:r>
                      <a:t>-7.0 %</a:t>
                    </a:r>
                  </a:p>
                </c:rich>
              </c:tx>
              <c:dLblPos val="ctr"/>
              <c:showLegendKey val="0"/>
              <c:showVal val="1"/>
              <c:showCatName val="0"/>
              <c:showSerName val="0"/>
              <c:showPercent val="0"/>
              <c:showBubbleSize val="0"/>
            </c:dLbl>
            <c:dLbl>
              <c:idx val="5"/>
              <c:tx>
                <c:rich>
                  <a:bodyPr/>
                  <a:lstStyle/>
                  <a:p>
                    <a:pPr>
                      <a:defRPr sz="800">
                        <a:latin typeface="Nexa Book"/>
                      </a:defRPr>
                    </a:pPr>
                    <a:r>
                      <a:t>-0.9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0.0</c:v>
                </c:pt>
                <c:pt idx="1">
                  <c:v>-0.0850226437341779</c:v>
                </c:pt>
                <c:pt idx="2">
                  <c:v>0.14870405274402843</c:v>
                </c:pt>
                <c:pt idx="3">
                  <c:v>0.016205952207838437</c:v>
                </c:pt>
                <c:pt idx="4">
                  <c:v>-0.06983056680273572</c:v>
                </c:pt>
                <c:pt idx="5">
                  <c:v>-0.00862615764578633</c:v>
                </c:pt>
                <c:pt idx="6">
                  <c:v>-0.001430636769166876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2 %</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64.2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0.0</c:v>
                </c:pt>
                <c:pt idx="1">
                  <c:v>-0.011992892452777737</c:v>
                </c:pt>
                <c:pt idx="2">
                  <c:v>0.0</c:v>
                </c:pt>
                <c:pt idx="3">
                  <c:v>-0.6424885405757619</c:v>
                </c:pt>
                <c:pt idx="4">
                  <c:v>0.0</c:v>
                </c:pt>
                <c:pt idx="5">
                  <c:v>0.0</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14850584963040814</c:v>
                </c:pt>
                <c:pt idx="1">
                  <c:v>0.0029852960055737343</c:v>
                </c:pt>
                <c:pt idx="2">
                  <c:v>0.010114539620513688</c:v>
                </c:pt>
                <c:pt idx="3">
                  <c:v>0.001750749336953380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08331313430074427</c:v>
                </c:pt>
                <c:pt idx="1">
                  <c:v>-0.027173744066951333</c:v>
                </c:pt>
                <c:pt idx="2">
                  <c:v>0.04308526014084352</c:v>
                </c:pt>
                <c:pt idx="3">
                  <c:v>-0.0006392117650333845</c:v>
                </c:pt>
                <c:pt idx="4">
                  <c:v>0.010114539620513688</c:v>
                </c:pt>
                <c:pt idx="5">
                  <c:v>-0.0019200691270446213</c:v>
                </c:pt>
                <c:pt idx="6">
                  <c:v>-0.01036693917624046</c:v>
                </c:pt>
                <c:pt idx="7">
                  <c:v>-0.01226670428308000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37.6 %</a:t>
                    </a:r>
                  </a:p>
                </c:rich>
              </c:tx>
              <c:dLblPos val="ctr"/>
              <c:showLegendKey val="0"/>
              <c:showVal val="1"/>
              <c:showCatName val="0"/>
              <c:showSerName val="0"/>
              <c:showPercent val="0"/>
              <c:showBubbleSize val="0"/>
            </c:dLbl>
            <c:dLbl>
              <c:idx val="2"/>
              <c:tx>
                <c:rich>
                  <a:bodyPr/>
                  <a:lstStyle/>
                  <a:p>
                    <a:pPr>
                      <a:defRPr sz="800">
                        <a:latin typeface="Nexa Book"/>
                      </a:defRPr>
                    </a:pPr>
                    <a:r>
                      <a:t>36.7 %</a:t>
                    </a:r>
                  </a:p>
                </c:rich>
              </c:tx>
              <c:dLblPos val="ctr"/>
              <c:showLegendKey val="0"/>
              <c:showVal val="1"/>
              <c:showCatName val="0"/>
              <c:showSerName val="0"/>
              <c:showPercent val="0"/>
              <c:showBubbleSize val="0"/>
            </c:dLbl>
            <c:dLbl>
              <c:idx val="3"/>
              <c:tx>
                <c:rich>
                  <a:bodyPr/>
                  <a:lstStyle/>
                  <a:p>
                    <a:pPr>
                      <a:defRPr sz="800">
                        <a:latin typeface="Nexa Book"/>
                      </a:defRPr>
                    </a:pPr>
                    <a:r>
                      <a:t>15.9 %</a:t>
                    </a:r>
                  </a:p>
                </c:rich>
              </c:tx>
              <c:dLblPos val="ctr"/>
              <c:showLegendKey val="0"/>
              <c:showVal val="1"/>
              <c:showCatName val="0"/>
              <c:showSerName val="0"/>
              <c:showPercent val="0"/>
              <c:showBubbleSize val="0"/>
            </c:dLbl>
            <c:dLbl>
              <c:idx val="4"/>
              <c:tx>
                <c:rich>
                  <a:bodyPr/>
                  <a:lstStyle/>
                  <a:p>
                    <a:pPr>
                      <a:defRPr sz="800">
                        <a:latin typeface="Nexa Book"/>
                      </a:defRPr>
                    </a:pPr>
                    <a:r>
                      <a:t>6.9 %</a:t>
                    </a:r>
                  </a:p>
                </c:rich>
              </c:tx>
              <c:dLblPos val="ctr"/>
              <c:showLegendKey val="0"/>
              <c:showVal val="1"/>
              <c:showCatName val="0"/>
              <c:showSerName val="0"/>
              <c:showPercent val="0"/>
              <c:showBubbleSize val="0"/>
            </c:dLbl>
            <c:dLbl>
              <c:idx val="5"/>
              <c:tx>
                <c:rich>
                  <a:bodyPr/>
                  <a:lstStyle/>
                  <a:p>
                    <a:pPr>
                      <a:defRPr sz="800">
                        <a:latin typeface="Nexa Book"/>
                      </a:defRPr>
                    </a:pPr>
                    <a:r>
                      <a:t>2.4 %</a:t>
                    </a:r>
                  </a:p>
                </c:rich>
              </c:tx>
              <c:dLblPos val="ctr"/>
              <c:showLegendKey val="0"/>
              <c:showVal val="1"/>
              <c:showCatName val="0"/>
              <c:showSerName val="0"/>
              <c:showPercent val="0"/>
              <c:showBubbleSize val="0"/>
            </c:dLbl>
            <c:dLbl>
              <c:idx val="6"/>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0</c:v>
                </c:pt>
                <c:pt idx="1">
                  <c:v>0.3763666914688128</c:v>
                </c:pt>
                <c:pt idx="2">
                  <c:v>0.36711117025219814</c:v>
                </c:pt>
                <c:pt idx="3">
                  <c:v>0.15873506050636846</c:v>
                </c:pt>
                <c:pt idx="4">
                  <c:v>0.0691096294619454</c:v>
                </c:pt>
                <c:pt idx="5">
                  <c:v>0.024275177823081973</c:v>
                </c:pt>
                <c:pt idx="6">
                  <c:v>0.0044022704875932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56.2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43.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0</c:v>
                </c:pt>
                <c:pt idx="1">
                  <c:v>0.0</c:v>
                </c:pt>
                <c:pt idx="2">
                  <c:v>0.5625</c:v>
                </c:pt>
                <c:pt idx="3">
                  <c:v>0.0</c:v>
                </c:pt>
                <c:pt idx="4">
                  <c:v>0.0</c:v>
                </c:pt>
                <c:pt idx="5">
                  <c:v>0.0</c:v>
                </c:pt>
                <c:pt idx="6">
                  <c:v>0.437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13</a:t>
                    </a:r>
                  </a:p>
                </c:rich>
              </c:tx>
              <c:dLblPos val="ctr"/>
              <c:showLegendKey val="0"/>
              <c:showVal val="1"/>
              <c:showCatName val="0"/>
              <c:showSerName val="0"/>
              <c:showPercent val="0"/>
              <c:showBubbleSize val="0"/>
            </c:dLbl>
            <c:dLbl>
              <c:idx val="1"/>
              <c:tx>
                <c:rich>
                  <a:bodyPr/>
                  <a:lstStyle/>
                  <a:p>
                    <a:pPr>
                      <a:defRPr sz="800">
                        <a:latin typeface="Nexa Book"/>
                      </a:defRPr>
                    </a:pPr>
                    <a:r>
                      <a:t>43</a:t>
                    </a:r>
                  </a:p>
                </c:rich>
              </c:tx>
              <c:dLblPos val="ctr"/>
              <c:showLegendKey val="0"/>
              <c:showVal val="1"/>
              <c:showCatName val="0"/>
              <c:showSerName val="0"/>
              <c:showPercent val="0"/>
              <c:showBubbleSize val="0"/>
            </c:dLbl>
            <c:dLbl>
              <c:idx val="2"/>
              <c:tx>
                <c:rich>
                  <a:bodyPr/>
                  <a:lstStyle/>
                  <a:p>
                    <a:pPr>
                      <a:defRPr sz="800">
                        <a:latin typeface="Nexa Book"/>
                      </a:defRPr>
                    </a:pPr>
                    <a:r>
                      <a:t>42</a:t>
                    </a:r>
                  </a:p>
                </c:rich>
              </c:tx>
              <c:dLblPos val="ctr"/>
              <c:showLegendKey val="0"/>
              <c:showVal val="1"/>
              <c:showCatName val="0"/>
              <c:showSerName val="0"/>
              <c:showPercent val="0"/>
              <c:showBubbleSize val="0"/>
            </c:dLbl>
            <c:dLbl>
              <c:idx val="3"/>
              <c:tx>
                <c:rich>
                  <a:bodyPr/>
                  <a:lstStyle/>
                  <a:p>
                    <a:pPr>
                      <a:defRPr sz="800">
                        <a:latin typeface="Nexa Book"/>
                      </a:defRPr>
                    </a:pPr>
                    <a:r>
                      <a:t>18</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3</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1317569.0</c:v>
                </c:pt>
                <c:pt idx="1">
                  <c:v>4259556.0</c:v>
                </c:pt>
                <c:pt idx="2">
                  <c:v>4154806.0</c:v>
                </c:pt>
                <c:pt idx="3">
                  <c:v>1796495.0</c:v>
                </c:pt>
                <c:pt idx="4">
                  <c:v>782153.0</c:v>
                </c:pt>
                <c:pt idx="5">
                  <c:v>274736.0</c:v>
                </c:pt>
                <c:pt idx="6">
                  <c:v>4982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0</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0.0</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6.0</c:v>
                </c:pt>
                <c:pt idx="1">
                  <c:v>0.0</c:v>
                </c:pt>
                <c:pt idx="2">
                  <c:v>9.0</c:v>
                </c:pt>
                <c:pt idx="3">
                  <c:v>0.0</c:v>
                </c:pt>
                <c:pt idx="4">
                  <c:v>0.0</c:v>
                </c:pt>
                <c:pt idx="5">
                  <c:v>0.0</c:v>
                </c:pt>
                <c:pt idx="6">
                  <c:v>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8.5 %</a:t>
                    </a:r>
                  </a:p>
                </c:rich>
              </c:tx>
              <c:dLblPos val="ctr"/>
              <c:showLegendKey val="0"/>
              <c:showVal val="1"/>
              <c:showCatName val="0"/>
              <c:showSerName val="0"/>
              <c:showPercent val="0"/>
              <c:showBubbleSize val="0"/>
            </c:dLbl>
            <c:dLbl>
              <c:idx val="2"/>
              <c:tx>
                <c:rich>
                  <a:bodyPr/>
                  <a:lstStyle/>
                  <a:p>
                    <a:pPr>
                      <a:defRPr sz="800">
                        <a:latin typeface="Nexa Book"/>
                      </a:defRPr>
                    </a:pPr>
                    <a:r>
                      <a:t>14.9 %</a:t>
                    </a:r>
                  </a:p>
                </c:rich>
              </c:tx>
              <c:dLblPos val="ctr"/>
              <c:showLegendKey val="0"/>
              <c:showVal val="1"/>
              <c:showCatName val="0"/>
              <c:showSerName val="0"/>
              <c:showPercent val="0"/>
              <c:showBubbleSize val="0"/>
            </c:dLbl>
            <c:dLbl>
              <c:idx val="3"/>
              <c:tx>
                <c:rich>
                  <a:bodyPr/>
                  <a:lstStyle/>
                  <a:p>
                    <a:pPr>
                      <a:defRPr sz="800">
                        <a:latin typeface="Nexa Book"/>
                      </a:defRPr>
                    </a:pPr>
                    <a:r>
                      <a:t>1.6 %</a:t>
                    </a:r>
                  </a:p>
                </c:rich>
              </c:tx>
              <c:dLblPos val="ctr"/>
              <c:showLegendKey val="0"/>
              <c:showVal val="1"/>
              <c:showCatName val="0"/>
              <c:showSerName val="0"/>
              <c:showPercent val="0"/>
              <c:showBubbleSize val="0"/>
            </c:dLbl>
            <c:dLbl>
              <c:idx val="4"/>
              <c:tx>
                <c:rich>
                  <a:bodyPr/>
                  <a:lstStyle/>
                  <a:p>
                    <a:pPr>
                      <a:defRPr sz="800">
                        <a:latin typeface="Nexa Book"/>
                      </a:defRPr>
                    </a:pPr>
                    <a:r>
                      <a:t>-7.0 %</a:t>
                    </a:r>
                  </a:p>
                </c:rich>
              </c:tx>
              <c:dLblPos val="ctr"/>
              <c:showLegendKey val="0"/>
              <c:showVal val="1"/>
              <c:showCatName val="0"/>
              <c:showSerName val="0"/>
              <c:showPercent val="0"/>
              <c:showBubbleSize val="0"/>
            </c:dLbl>
            <c:dLbl>
              <c:idx val="5"/>
              <c:tx>
                <c:rich>
                  <a:bodyPr/>
                  <a:lstStyle/>
                  <a:p>
                    <a:pPr>
                      <a:defRPr sz="800">
                        <a:latin typeface="Nexa Book"/>
                      </a:defRPr>
                    </a:pPr>
                    <a:r>
                      <a:t>-0.9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0.0</c:v>
                </c:pt>
                <c:pt idx="1">
                  <c:v>-0.0850226437341779</c:v>
                </c:pt>
                <c:pt idx="2">
                  <c:v>0.14870405274402843</c:v>
                </c:pt>
                <c:pt idx="3">
                  <c:v>0.016205952207838437</c:v>
                </c:pt>
                <c:pt idx="4">
                  <c:v>-0.06983056680273572</c:v>
                </c:pt>
                <c:pt idx="5">
                  <c:v>-0.00862615764578633</c:v>
                </c:pt>
                <c:pt idx="6">
                  <c:v>-0.001430636769166876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26.9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40.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0.0</c:v>
                </c:pt>
                <c:pt idx="1">
                  <c:v>0.0</c:v>
                </c:pt>
                <c:pt idx="2">
                  <c:v>-0.26909379818961965</c:v>
                </c:pt>
                <c:pt idx="3">
                  <c:v>0.0</c:v>
                </c:pt>
                <c:pt idx="4">
                  <c:v>0.0</c:v>
                </c:pt>
                <c:pt idx="5">
                  <c:v>0.0</c:v>
                </c:pt>
                <c:pt idx="6">
                  <c:v>0.4082575818334931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2 %</a:t>
                    </a:r>
                  </a:p>
                </c:rich>
              </c:tx>
              <c:dLblPos val="ctr"/>
              <c:showLegendKey val="0"/>
              <c:showVal val="1"/>
              <c:showCatName val="0"/>
              <c:showSerName val="0"/>
              <c:showPercent val="0"/>
              <c:showBubbleSize val="0"/>
            </c:dLbl>
            <c:dLbl>
              <c:idx val="2"/>
              <c:tx>
                <c:rich>
                  <a:bodyPr/>
                  <a:lstStyle/>
                  <a:p>
                    <a:pPr>
                      <a:defRPr sz="800">
                        <a:latin typeface="Nexa Book"/>
                      </a:defRPr>
                    </a:pPr>
                    <a:r>
                      <a:t>15.9 %</a:t>
                    </a:r>
                  </a:p>
                </c:rich>
              </c:tx>
              <c:dLblPos val="ctr"/>
              <c:showLegendKey val="0"/>
              <c:showVal val="1"/>
              <c:showCatName val="0"/>
              <c:showSerName val="0"/>
              <c:showPercent val="0"/>
              <c:showBubbleSize val="0"/>
            </c:dLbl>
            <c:dLbl>
              <c:idx val="3"/>
              <c:tx>
                <c:rich>
                  <a:bodyPr/>
                  <a:lstStyle/>
                  <a:p>
                    <a:pPr>
                      <a:defRPr sz="800">
                        <a:latin typeface="Nexa Book"/>
                      </a:defRPr>
                    </a:pPr>
                    <a:r>
                      <a:t>12.4 %</a:t>
                    </a:r>
                  </a:p>
                </c:rich>
              </c:tx>
              <c:dLblPos val="ctr"/>
              <c:showLegendKey val="0"/>
              <c:showVal val="1"/>
              <c:showCatName val="0"/>
              <c:showSerName val="0"/>
              <c:showPercent val="0"/>
              <c:showBubbleSize val="0"/>
            </c:dLbl>
            <c:dLbl>
              <c:idx val="4"/>
              <c:tx>
                <c:rich>
                  <a:bodyPr/>
                  <a:lstStyle/>
                  <a:p>
                    <a:pPr>
                      <a:defRPr sz="800">
                        <a:latin typeface="Nexa Book"/>
                      </a:defRPr>
                    </a:pPr>
                    <a:r>
                      <a:t>8.8 %</a:t>
                    </a:r>
                  </a:p>
                </c:rich>
              </c:tx>
              <c:dLblPos val="ctr"/>
              <c:showLegendKey val="0"/>
              <c:showVal val="1"/>
              <c:showCatName val="0"/>
              <c:showSerName val="0"/>
              <c:showPercent val="0"/>
              <c:showBubbleSize val="0"/>
            </c:dLbl>
            <c:dLbl>
              <c:idx val="5"/>
              <c:tx>
                <c:rich>
                  <a:bodyPr/>
                  <a:lstStyle/>
                  <a:p>
                    <a:pPr>
                      <a:defRPr sz="800">
                        <a:latin typeface="Nexa Book"/>
                      </a:defRPr>
                    </a:pPr>
                    <a:r>
                      <a:t>4.3 %</a:t>
                    </a:r>
                  </a:p>
                </c:rich>
              </c:tx>
              <c:dLblPos val="ctr"/>
              <c:showLegendKey val="0"/>
              <c:showVal val="1"/>
              <c:showCatName val="0"/>
              <c:showSerName val="0"/>
              <c:showPercent val="0"/>
              <c:showBubbleSize val="0"/>
            </c:dLbl>
            <c:dLbl>
              <c:idx val="6"/>
              <c:tx>
                <c:rich>
                  <a:bodyPr/>
                  <a:lstStyle/>
                  <a:p>
                    <a:pPr>
                      <a:defRPr sz="800">
                        <a:latin typeface="Nexa Book"/>
                      </a:defRPr>
                    </a:pPr>
                    <a:r>
                      <a:t>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5523696605630734</c:v>
                </c:pt>
                <c:pt idx="2">
                  <c:v>0.15909649758105643</c:v>
                </c:pt>
                <c:pt idx="3">
                  <c:v>0.12443035813642755</c:v>
                </c:pt>
                <c:pt idx="4">
                  <c:v>0.08828915758870423</c:v>
                </c:pt>
                <c:pt idx="5">
                  <c:v>0.04268654527492872</c:v>
                </c:pt>
                <c:pt idx="6">
                  <c:v>0.0331277808558097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2.5 %</a:t>
                    </a:r>
                  </a:p>
                </c:rich>
              </c:tx>
              <c:dLblPos val="ctr"/>
              <c:showLegendKey val="0"/>
              <c:showVal val="1"/>
              <c:showCatName val="0"/>
              <c:showSerName val="0"/>
              <c:showPercent val="0"/>
              <c:showBubbleSize val="0"/>
            </c:dLbl>
            <c:dLbl>
              <c:idx val="2"/>
              <c:tx>
                <c:rich>
                  <a:bodyPr/>
                  <a:lstStyle/>
                  <a:p>
                    <a:pPr>
                      <a:defRPr sz="800">
                        <a:latin typeface="Nexa Book"/>
                      </a:defRPr>
                    </a:pPr>
                    <a:r>
                      <a:t>17.5 %</a:t>
                    </a:r>
                  </a:p>
                </c:rich>
              </c:tx>
              <c:dLblPos val="ctr"/>
              <c:showLegendKey val="0"/>
              <c:showVal val="1"/>
              <c:showCatName val="0"/>
              <c:showSerName val="0"/>
              <c:showPercent val="0"/>
              <c:showBubbleSize val="0"/>
            </c:dLbl>
            <c:dLbl>
              <c:idx val="3"/>
              <c:tx>
                <c:rich>
                  <a:bodyPr/>
                  <a:lstStyle/>
                  <a:p>
                    <a:pPr>
                      <a:defRPr sz="800">
                        <a:latin typeface="Nexa Book"/>
                      </a:defRPr>
                    </a:pPr>
                    <a:r>
                      <a:t>13.9 %</a:t>
                    </a:r>
                  </a:p>
                </c:rich>
              </c:tx>
              <c:dLblPos val="ctr"/>
              <c:showLegendKey val="0"/>
              <c:showVal val="1"/>
              <c:showCatName val="0"/>
              <c:showSerName val="0"/>
              <c:showPercent val="0"/>
              <c:showBubbleSize val="0"/>
            </c:dLbl>
            <c:dLbl>
              <c:idx val="4"/>
              <c:tx>
                <c:rich>
                  <a:bodyPr/>
                  <a:lstStyle/>
                  <a:p>
                    <a:pPr>
                      <a:defRPr sz="800">
                        <a:latin typeface="Nexa Book"/>
                      </a:defRPr>
                    </a:pPr>
                    <a:r>
                      <a:t>8.3 %</a:t>
                    </a:r>
                  </a:p>
                </c:rich>
              </c:tx>
              <c:dLblPos val="ctr"/>
              <c:showLegendKey val="0"/>
              <c:showVal val="1"/>
              <c:showCatName val="0"/>
              <c:showSerName val="0"/>
              <c:showPercent val="0"/>
              <c:showBubbleSize val="0"/>
            </c:dLbl>
            <c:dLbl>
              <c:idx val="5"/>
              <c:tx>
                <c:rich>
                  <a:bodyPr/>
                  <a:lstStyle/>
                  <a:p>
                    <a:pPr>
                      <a:defRPr sz="800">
                        <a:latin typeface="Nexa Book"/>
                      </a:defRPr>
                    </a:pPr>
                    <a:r>
                      <a:t>4.5 %</a:t>
                    </a:r>
                  </a:p>
                </c:rich>
              </c:tx>
              <c:dLblPos val="ctr"/>
              <c:showLegendKey val="0"/>
              <c:showVal val="1"/>
              <c:showCatName val="0"/>
              <c:showSerName val="0"/>
              <c:showPercent val="0"/>
              <c:showBubbleSize val="0"/>
            </c:dLbl>
            <c:dLbl>
              <c:idx val="6"/>
              <c:tx>
                <c:rich>
                  <a:bodyPr/>
                  <a:lstStyle/>
                  <a:p>
                    <a:pPr>
                      <a:defRPr sz="800">
                        <a:latin typeface="Nexa Book"/>
                      </a:defRPr>
                    </a:pPr>
                    <a:r>
                      <a:t>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5250684099153439</c:v>
                </c:pt>
                <c:pt idx="2">
                  <c:v>0.17495589903555453</c:v>
                </c:pt>
                <c:pt idx="3">
                  <c:v>0.1390447872850435</c:v>
                </c:pt>
                <c:pt idx="4">
                  <c:v>0.08286790190269903</c:v>
                </c:pt>
                <c:pt idx="5">
                  <c:v>0.0449935408853705</c:v>
                </c:pt>
                <c:pt idx="6">
                  <c:v>0.0330694609759885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232</a:t>
                    </a:r>
                  </a:p>
                </c:rich>
              </c:tx>
              <c:dLblPos val="ctr"/>
              <c:showLegendKey val="0"/>
              <c:showVal val="1"/>
              <c:showCatName val="0"/>
              <c:showSerName val="0"/>
              <c:showPercent val="0"/>
              <c:showBubbleSize val="0"/>
            </c:dLbl>
            <c:dLbl>
              <c:idx val="1"/>
              <c:tx>
                <c:rich>
                  <a:bodyPr/>
                  <a:lstStyle/>
                  <a:p>
                    <a:pPr>
                      <a:defRPr sz="800">
                        <a:latin typeface="Nexa Book"/>
                      </a:defRPr>
                    </a:pPr>
                    <a:r>
                      <a:t>681</a:t>
                    </a:r>
                  </a:p>
                </c:rich>
              </c:tx>
              <c:dLblPos val="ctr"/>
              <c:showLegendKey val="0"/>
              <c:showVal val="1"/>
              <c:showCatName val="0"/>
              <c:showSerName val="0"/>
              <c:showPercent val="0"/>
              <c:showBubbleSize val="0"/>
            </c:dLbl>
            <c:dLbl>
              <c:idx val="2"/>
              <c:tx>
                <c:rich>
                  <a:bodyPr/>
                  <a:lstStyle/>
                  <a:p>
                    <a:pPr>
                      <a:defRPr sz="800">
                        <a:latin typeface="Nexa Book"/>
                      </a:defRPr>
                    </a:pPr>
                    <a:r>
                      <a:t>196</a:t>
                    </a:r>
                  </a:p>
                </c:rich>
              </c:tx>
              <c:dLblPos val="ctr"/>
              <c:showLegendKey val="0"/>
              <c:showVal val="1"/>
              <c:showCatName val="0"/>
              <c:showSerName val="0"/>
              <c:showPercent val="0"/>
              <c:showBubbleSize val="0"/>
            </c:dLbl>
            <c:dLbl>
              <c:idx val="3"/>
              <c:tx>
                <c:rich>
                  <a:bodyPr/>
                  <a:lstStyle/>
                  <a:p>
                    <a:pPr>
                      <a:defRPr sz="800">
                        <a:latin typeface="Nexa Book"/>
                      </a:defRPr>
                    </a:pPr>
                    <a:r>
                      <a:t>153</a:t>
                    </a:r>
                  </a:p>
                </c:rich>
              </c:tx>
              <c:dLblPos val="ctr"/>
              <c:showLegendKey val="0"/>
              <c:showVal val="1"/>
              <c:showCatName val="0"/>
              <c:showSerName val="0"/>
              <c:showPercent val="0"/>
              <c:showBubbleSize val="0"/>
            </c:dLbl>
            <c:dLbl>
              <c:idx val="4"/>
              <c:tx>
                <c:rich>
                  <a:bodyPr/>
                  <a:lstStyle/>
                  <a:p>
                    <a:pPr>
                      <a:defRPr sz="800">
                        <a:latin typeface="Nexa Book"/>
                      </a:defRPr>
                    </a:pPr>
                    <a:r>
                      <a:t>109</a:t>
                    </a:r>
                  </a:p>
                </c:rich>
              </c:tx>
              <c:dLblPos val="ctr"/>
              <c:showLegendKey val="0"/>
              <c:showVal val="1"/>
              <c:showCatName val="0"/>
              <c:showSerName val="0"/>
              <c:showPercent val="0"/>
              <c:showBubbleSize val="0"/>
            </c:dLbl>
            <c:dLbl>
              <c:idx val="5"/>
              <c:tx>
                <c:rich>
                  <a:bodyPr/>
                  <a:lstStyle/>
                  <a:p>
                    <a:pPr>
                      <a:defRPr sz="800">
                        <a:latin typeface="Nexa Book"/>
                      </a:defRPr>
                    </a:pPr>
                    <a:r>
                      <a:t>53</a:t>
                    </a:r>
                  </a:p>
                </c:rich>
              </c:tx>
              <c:dLblPos val="ctr"/>
              <c:showLegendKey val="0"/>
              <c:showVal val="1"/>
              <c:showCatName val="0"/>
              <c:showSerName val="0"/>
              <c:showPercent val="0"/>
              <c:showBubbleSize val="0"/>
            </c:dLbl>
            <c:dLbl>
              <c:idx val="6"/>
              <c:tx>
                <c:rich>
                  <a:bodyPr/>
                  <a:lstStyle/>
                  <a:p>
                    <a:pPr>
                      <a:defRPr sz="800">
                        <a:latin typeface="Nexa Book"/>
                      </a:defRPr>
                    </a:pPr>
                    <a:r>
                      <a:t>4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23211845.0</c:v>
                </c:pt>
                <c:pt idx="1">
                  <c:v>68058485.0</c:v>
                </c:pt>
                <c:pt idx="2">
                  <c:v>19602573.0</c:v>
                </c:pt>
                <c:pt idx="3">
                  <c:v>15331294.0</c:v>
                </c:pt>
                <c:pt idx="4">
                  <c:v>10878270.0</c:v>
                </c:pt>
                <c:pt idx="5">
                  <c:v>5259488.0</c:v>
                </c:pt>
                <c:pt idx="6">
                  <c:v>408173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473</a:t>
                    </a:r>
                  </a:p>
                </c:rich>
              </c:tx>
              <c:dLblPos val="ctr"/>
              <c:showLegendKey val="0"/>
              <c:showVal val="1"/>
              <c:showCatName val="0"/>
              <c:showSerName val="0"/>
              <c:showPercent val="0"/>
              <c:showBubbleSize val="0"/>
            </c:dLbl>
            <c:dLbl>
              <c:idx val="1"/>
              <c:tx>
                <c:rich>
                  <a:bodyPr/>
                  <a:lstStyle/>
                  <a:p>
                    <a:pPr>
                      <a:defRPr sz="800">
                        <a:latin typeface="Nexa Book"/>
                      </a:defRPr>
                    </a:pPr>
                    <a:r>
                      <a:t>248</a:t>
                    </a:r>
                  </a:p>
                </c:rich>
              </c:tx>
              <c:dLblPos val="ctr"/>
              <c:showLegendKey val="0"/>
              <c:showVal val="1"/>
              <c:showCatName val="0"/>
              <c:showSerName val="0"/>
              <c:showPercent val="0"/>
              <c:showBubbleSize val="0"/>
            </c:dLbl>
            <c:dLbl>
              <c:idx val="2"/>
              <c:tx>
                <c:rich>
                  <a:bodyPr/>
                  <a:lstStyle/>
                  <a:p>
                    <a:pPr>
                      <a:defRPr sz="800">
                        <a:latin typeface="Nexa Book"/>
                      </a:defRPr>
                    </a:pPr>
                    <a:r>
                      <a:t>83</a:t>
                    </a:r>
                  </a:p>
                </c:rich>
              </c:tx>
              <c:dLblPos val="ctr"/>
              <c:showLegendKey val="0"/>
              <c:showVal val="1"/>
              <c:showCatName val="0"/>
              <c:showSerName val="0"/>
              <c:showPercent val="0"/>
              <c:showBubbleSize val="0"/>
            </c:dLbl>
            <c:dLbl>
              <c:idx val="3"/>
              <c:tx>
                <c:rich>
                  <a:bodyPr/>
                  <a:lstStyle/>
                  <a:p>
                    <a:pPr>
                      <a:defRPr sz="800">
                        <a:latin typeface="Nexa Book"/>
                      </a:defRPr>
                    </a:pPr>
                    <a:r>
                      <a:t>66</a:t>
                    </a:r>
                  </a:p>
                </c:rich>
              </c:tx>
              <c:dLblPos val="ctr"/>
              <c:showLegendKey val="0"/>
              <c:showVal val="1"/>
              <c:showCatName val="0"/>
              <c:showSerName val="0"/>
              <c:showPercent val="0"/>
              <c:showBubbleSize val="0"/>
            </c:dLbl>
            <c:dLbl>
              <c:idx val="4"/>
              <c:tx>
                <c:rich>
                  <a:bodyPr/>
                  <a:lstStyle/>
                  <a:p>
                    <a:pPr>
                      <a:defRPr sz="800">
                        <a:latin typeface="Nexa Book"/>
                      </a:defRPr>
                    </a:pPr>
                    <a:r>
                      <a:t>39</a:t>
                    </a:r>
                  </a:p>
                </c:rich>
              </c:tx>
              <c:dLblPos val="ctr"/>
              <c:showLegendKey val="0"/>
              <c:showVal val="1"/>
              <c:showCatName val="0"/>
              <c:showSerName val="0"/>
              <c:showPercent val="0"/>
              <c:showBubbleSize val="0"/>
            </c:dLbl>
            <c:dLbl>
              <c:idx val="5"/>
              <c:tx>
                <c:rich>
                  <a:bodyPr/>
                  <a:lstStyle/>
                  <a:p>
                    <a:pPr>
                      <a:defRPr sz="800">
                        <a:latin typeface="Nexa Book"/>
                      </a:defRPr>
                    </a:pPr>
                    <a:r>
                      <a:t>21</a:t>
                    </a:r>
                  </a:p>
                </c:rich>
              </c:tx>
              <c:dLblPos val="ctr"/>
              <c:showLegendKey val="0"/>
              <c:showVal val="1"/>
              <c:showCatName val="0"/>
              <c:showSerName val="0"/>
              <c:showPercent val="0"/>
              <c:showBubbleSize val="0"/>
            </c:dLbl>
            <c:dLbl>
              <c:idx val="6"/>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47266540.0</c:v>
                </c:pt>
                <c:pt idx="1">
                  <c:v>24818167.0</c:v>
                </c:pt>
                <c:pt idx="2">
                  <c:v>8269560.0</c:v>
                </c:pt>
                <c:pt idx="3">
                  <c:v>6572166.0</c:v>
                </c:pt>
                <c:pt idx="4">
                  <c:v>3916879.0</c:v>
                </c:pt>
                <c:pt idx="5">
                  <c:v>2126689.0</c:v>
                </c:pt>
                <c:pt idx="6">
                  <c:v>156307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8 %</a:t>
                    </a:r>
                  </a:p>
                </c:rich>
              </c:tx>
              <c:dLblPos val="ctr"/>
              <c:showLegendKey val="0"/>
              <c:showVal val="1"/>
              <c:showCatName val="0"/>
              <c:showSerName val="0"/>
              <c:showPercent val="0"/>
              <c:showBubbleSize val="0"/>
            </c:dLbl>
            <c:dLbl>
              <c:idx val="3"/>
              <c:tx>
                <c:rich>
                  <a:bodyPr/>
                  <a:lstStyle/>
                  <a:p>
                    <a:pPr>
                      <a:defRPr sz="800">
                        <a:latin typeface="Nexa Book"/>
                      </a:defRPr>
                    </a:pPr>
                    <a:r>
                      <a:t>1.7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22063139434182477</c:v>
                </c:pt>
                <c:pt idx="2">
                  <c:v>0.007824869042437066</c:v>
                </c:pt>
                <c:pt idx="3">
                  <c:v>0.01709528889289992</c:v>
                </c:pt>
                <c:pt idx="4">
                  <c:v>-0.007314622147211264</c:v>
                </c:pt>
                <c:pt idx="5">
                  <c:v>0.006694019744064007</c:v>
                </c:pt>
                <c:pt idx="6">
                  <c:v>-0.00223641609800720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7 %</a:t>
                    </a:r>
                  </a:p>
                </c:rich>
              </c:tx>
              <c:dLblPos val="ctr"/>
              <c:showLegendKey val="0"/>
              <c:showVal val="1"/>
              <c:showCatName val="0"/>
              <c:showSerName val="0"/>
              <c:showPercent val="0"/>
              <c:showBubbleSize val="0"/>
            </c:dLbl>
            <c:dLbl>
              <c:idx val="2"/>
              <c:tx>
                <c:rich>
                  <a:bodyPr/>
                  <a:lstStyle/>
                  <a:p>
                    <a:pPr>
                      <a:defRPr sz="800">
                        <a:latin typeface="Nexa Book"/>
                      </a:defRPr>
                    </a:pPr>
                    <a:r>
                      <a:t>-0.0 %</a:t>
                    </a:r>
                  </a:p>
                </c:rich>
              </c:tx>
              <c:dLblPos val="ctr"/>
              <c:showLegendKey val="0"/>
              <c:showVal val="1"/>
              <c:showCatName val="0"/>
              <c:showSerName val="0"/>
              <c:showPercent val="0"/>
              <c:showBubbleSize val="0"/>
            </c:dLbl>
            <c:dLbl>
              <c:idx val="3"/>
              <c:tx>
                <c:rich>
                  <a:bodyPr/>
                  <a:lstStyle/>
                  <a:p>
                    <a:pPr>
                      <a:defRPr sz="800">
                        <a:latin typeface="Nexa Book"/>
                      </a:defRPr>
                    </a:pPr>
                    <a:r>
                      <a:t>2.4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1.2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2739264611052661</c:v>
                </c:pt>
                <c:pt idx="2">
                  <c:v>-0.00028177116398861446</c:v>
                </c:pt>
                <c:pt idx="3">
                  <c:v>0.024088033858481614</c:v>
                </c:pt>
                <c:pt idx="4">
                  <c:v>-0.006681893598795521</c:v>
                </c:pt>
                <c:pt idx="5">
                  <c:v>0.012452850222639394</c:v>
                </c:pt>
                <c:pt idx="6">
                  <c:v>-0.00218457320781031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4 %</a:t>
                    </a:r>
                  </a:p>
                </c:rich>
              </c:tx>
              <c:dLblPos val="ctr"/>
              <c:showLegendKey val="0"/>
              <c:showVal val="1"/>
              <c:showCatName val="0"/>
              <c:showSerName val="0"/>
              <c:showPercent val="0"/>
              <c:showBubbleSize val="0"/>
            </c:dLbl>
            <c:dLbl>
              <c:idx val="2"/>
              <c:tx>
                <c:rich>
                  <a:bodyPr/>
                  <a:lstStyle/>
                  <a:p>
                    <a:pPr>
                      <a:defRPr sz="800">
                        <a:latin typeface="Nexa Book"/>
                      </a:defRPr>
                    </a:pPr>
                    <a:r>
                      <a:t>16.5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dLbl>
              <c:idx val="4"/>
              <c:tx>
                <c:rich>
                  <a:bodyPr/>
                  <a:lstStyle/>
                  <a:p>
                    <a:pPr>
                      <a:defRPr sz="800">
                        <a:latin typeface="Nexa Book"/>
                      </a:defRPr>
                    </a:pPr>
                    <a:r>
                      <a:t>8.1 %</a:t>
                    </a:r>
                  </a:p>
                </c:rich>
              </c:tx>
              <c:dLblPos val="ctr"/>
              <c:showLegendKey val="0"/>
              <c:showVal val="1"/>
              <c:showCatName val="0"/>
              <c:showSerName val="0"/>
              <c:showPercent val="0"/>
              <c:showBubbleSize val="0"/>
            </c:dLbl>
            <c:dLbl>
              <c:idx val="5"/>
              <c:tx>
                <c:rich>
                  <a:bodyPr/>
                  <a:lstStyle/>
                  <a:p>
                    <a:pPr>
                      <a:defRPr sz="800">
                        <a:latin typeface="Nexa Book"/>
                      </a:defRPr>
                    </a:pPr>
                    <a:r>
                      <a:t>4.0 %</a:t>
                    </a:r>
                  </a:p>
                </c:rich>
              </c:tx>
              <c:dLblPos val="ctr"/>
              <c:showLegendKey val="0"/>
              <c:showVal val="1"/>
              <c:showCatName val="0"/>
              <c:showSerName val="0"/>
              <c:showPercent val="0"/>
              <c:showBubbleSize val="0"/>
            </c:dLbl>
            <c:dLbl>
              <c:idx val="6"/>
              <c:tx>
                <c:rich>
                  <a:bodyPr/>
                  <a:lstStyle/>
                  <a:p>
                    <a:pPr>
                      <a:defRPr sz="800">
                        <a:latin typeface="Nexa Book"/>
                      </a:defRPr>
                    </a:pPr>
                    <a:r>
                      <a:t>2.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5439964535151609</c:v>
                </c:pt>
                <c:pt idx="2">
                  <c:v>0.16518183427729324</c:v>
                </c:pt>
                <c:pt idx="3">
                  <c:v>0.14054869275956966</c:v>
                </c:pt>
                <c:pt idx="4">
                  <c:v>0.08141267066911043</c:v>
                </c:pt>
                <c:pt idx="5">
                  <c:v>0.03981723249247914</c:v>
                </c:pt>
                <c:pt idx="6">
                  <c:v>0.0290431162863866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2 %</a:t>
                    </a:r>
                  </a:p>
                </c:rich>
              </c:tx>
              <c:dLblPos val="ctr"/>
              <c:showLegendKey val="0"/>
              <c:showVal val="1"/>
              <c:showCatName val="0"/>
              <c:showSerName val="0"/>
              <c:showPercent val="0"/>
              <c:showBubbleSize val="0"/>
            </c:dLbl>
            <c:dLbl>
              <c:idx val="2"/>
              <c:tx>
                <c:rich>
                  <a:bodyPr/>
                  <a:lstStyle/>
                  <a:p>
                    <a:pPr>
                      <a:defRPr sz="800">
                        <a:latin typeface="Nexa Book"/>
                      </a:defRPr>
                    </a:pPr>
                    <a:r>
                      <a:t>12.5 %</a:t>
                    </a:r>
                  </a:p>
                </c:rich>
              </c:tx>
              <c:dLblPos val="ctr"/>
              <c:showLegendKey val="0"/>
              <c:showVal val="1"/>
              <c:showCatName val="0"/>
              <c:showSerName val="0"/>
              <c:showPercent val="0"/>
              <c:showBubbleSize val="0"/>
            </c:dLbl>
            <c:dLbl>
              <c:idx val="3"/>
              <c:tx>
                <c:rich>
                  <a:bodyPr/>
                  <a:lstStyle/>
                  <a:p>
                    <a:pPr>
                      <a:defRPr sz="800">
                        <a:latin typeface="Nexa Book"/>
                      </a:defRPr>
                    </a:pPr>
                    <a:r>
                      <a:t>13.5 %</a:t>
                    </a:r>
                  </a:p>
                </c:rich>
              </c:tx>
              <c:dLblPos val="ctr"/>
              <c:showLegendKey val="0"/>
              <c:showVal val="1"/>
              <c:showCatName val="0"/>
              <c:showSerName val="0"/>
              <c:showPercent val="0"/>
              <c:showBubbleSize val="0"/>
            </c:dLbl>
            <c:dLbl>
              <c:idx val="4"/>
              <c:tx>
                <c:rich>
                  <a:bodyPr/>
                  <a:lstStyle/>
                  <a:p>
                    <a:pPr>
                      <a:defRPr sz="800">
                        <a:latin typeface="Nexa Book"/>
                      </a:defRPr>
                    </a:pPr>
                    <a:r>
                      <a:t>6.7 %</a:t>
                    </a:r>
                  </a:p>
                </c:rich>
              </c:tx>
              <c:dLblPos val="ctr"/>
              <c:showLegendKey val="0"/>
              <c:showVal val="1"/>
              <c:showCatName val="0"/>
              <c:showSerName val="0"/>
              <c:showPercent val="0"/>
              <c:showBubbleSize val="0"/>
            </c:dLbl>
            <c:dLbl>
              <c:idx val="5"/>
              <c:tx>
                <c:rich>
                  <a:bodyPr/>
                  <a:lstStyle/>
                  <a:p>
                    <a:pPr>
                      <a:defRPr sz="800">
                        <a:latin typeface="Nexa Book"/>
                      </a:defRPr>
                    </a:pPr>
                    <a:r>
                      <a:t>0.3 %</a:t>
                    </a:r>
                  </a:p>
                </c:rich>
              </c:tx>
              <c:dLblPos val="ctr"/>
              <c:showLegendKey val="0"/>
              <c:showVal val="1"/>
              <c:showCatName val="0"/>
              <c:showSerName val="0"/>
              <c:showPercent val="0"/>
              <c:showBubbleSize val="0"/>
            </c:dLbl>
            <c:dLbl>
              <c:idx val="6"/>
              <c:tx>
                <c:rich>
                  <a:bodyPr/>
                  <a:lstStyle/>
                  <a:p>
                    <a:pPr>
                      <a:defRPr sz="800">
                        <a:latin typeface="Nexa Book"/>
                      </a:defRPr>
                    </a:pPr>
                    <a:r>
                      <a:t>2.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6420311767219424</c:v>
                </c:pt>
                <c:pt idx="2">
                  <c:v>0.12450897323551002</c:v>
                </c:pt>
                <c:pt idx="3">
                  <c:v>0.13493485308779973</c:v>
                </c:pt>
                <c:pt idx="4">
                  <c:v>0.06712699743296524</c:v>
                </c:pt>
                <c:pt idx="5">
                  <c:v>0.0026296047488316866</c:v>
                </c:pt>
                <c:pt idx="6">
                  <c:v>0.02876839477295094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810</a:t>
                    </a:r>
                  </a:p>
                </c:rich>
              </c:tx>
              <c:dLblPos val="ctr"/>
              <c:showLegendKey val="0"/>
              <c:showVal val="1"/>
              <c:showCatName val="0"/>
              <c:showSerName val="0"/>
              <c:showPercent val="0"/>
              <c:showBubbleSize val="0"/>
            </c:dLbl>
            <c:dLbl>
              <c:idx val="1"/>
              <c:tx>
                <c:rich>
                  <a:bodyPr/>
                  <a:lstStyle/>
                  <a:p>
                    <a:pPr>
                      <a:defRPr sz="800">
                        <a:latin typeface="Nexa Book"/>
                      </a:defRPr>
                    </a:pPr>
                    <a:r>
                      <a:t>2073</a:t>
                    </a:r>
                  </a:p>
                </c:rich>
              </c:tx>
              <c:dLblPos val="ctr"/>
              <c:showLegendKey val="0"/>
              <c:showVal val="1"/>
              <c:showCatName val="0"/>
              <c:showSerName val="0"/>
              <c:showPercent val="0"/>
              <c:showBubbleSize val="0"/>
            </c:dLbl>
            <c:dLbl>
              <c:idx val="2"/>
              <c:tx>
                <c:rich>
                  <a:bodyPr/>
                  <a:lstStyle/>
                  <a:p>
                    <a:pPr>
                      <a:defRPr sz="800">
                        <a:latin typeface="Nexa Book"/>
                      </a:defRPr>
                    </a:pPr>
                    <a:r>
                      <a:t>629</a:t>
                    </a:r>
                  </a:p>
                </c:rich>
              </c:tx>
              <c:dLblPos val="ctr"/>
              <c:showLegendKey val="0"/>
              <c:showVal val="1"/>
              <c:showCatName val="0"/>
              <c:showSerName val="0"/>
              <c:showPercent val="0"/>
              <c:showBubbleSize val="0"/>
            </c:dLbl>
            <c:dLbl>
              <c:idx val="3"/>
              <c:tx>
                <c:rich>
                  <a:bodyPr/>
                  <a:lstStyle/>
                  <a:p>
                    <a:pPr>
                      <a:defRPr sz="800">
                        <a:latin typeface="Nexa Book"/>
                      </a:defRPr>
                    </a:pPr>
                    <a:r>
                      <a:t>535</a:t>
                    </a:r>
                  </a:p>
                </c:rich>
              </c:tx>
              <c:dLblPos val="ctr"/>
              <c:showLegendKey val="0"/>
              <c:showVal val="1"/>
              <c:showCatName val="0"/>
              <c:showSerName val="0"/>
              <c:showPercent val="0"/>
              <c:showBubbleSize val="0"/>
            </c:dLbl>
            <c:dLbl>
              <c:idx val="4"/>
              <c:tx>
                <c:rich>
                  <a:bodyPr/>
                  <a:lstStyle/>
                  <a:p>
                    <a:pPr>
                      <a:defRPr sz="800">
                        <a:latin typeface="Nexa Book"/>
                      </a:defRPr>
                    </a:pPr>
                    <a:r>
                      <a:t>310</a:t>
                    </a:r>
                  </a:p>
                </c:rich>
              </c:tx>
              <c:dLblPos val="ctr"/>
              <c:showLegendKey val="0"/>
              <c:showVal val="1"/>
              <c:showCatName val="0"/>
              <c:showSerName val="0"/>
              <c:showPercent val="0"/>
              <c:showBubbleSize val="0"/>
            </c:dLbl>
            <c:dLbl>
              <c:idx val="5"/>
              <c:tx>
                <c:rich>
                  <a:bodyPr/>
                  <a:lstStyle/>
                  <a:p>
                    <a:pPr>
                      <a:defRPr sz="800">
                        <a:latin typeface="Nexa Book"/>
                      </a:defRPr>
                    </a:pPr>
                    <a:r>
                      <a:t>152</a:t>
                    </a:r>
                  </a:p>
                </c:rich>
              </c:tx>
              <c:dLblPos val="ctr"/>
              <c:showLegendKey val="0"/>
              <c:showVal val="1"/>
              <c:showCatName val="0"/>
              <c:showSerName val="0"/>
              <c:showPercent val="0"/>
              <c:showBubbleSize val="0"/>
            </c:dLbl>
            <c:dLbl>
              <c:idx val="6"/>
              <c:tx>
                <c:rich>
                  <a:bodyPr/>
                  <a:lstStyle/>
                  <a:p>
                    <a:pPr>
                      <a:defRPr sz="800">
                        <a:latin typeface="Nexa Book"/>
                      </a:defRPr>
                    </a:pPr>
                    <a:r>
                      <a:t>11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380999232.0</c:v>
                </c:pt>
                <c:pt idx="1">
                  <c:v>207262231.0</c:v>
                </c:pt>
                <c:pt idx="2">
                  <c:v>62934152.0</c:v>
                </c:pt>
                <c:pt idx="3">
                  <c:v>53548944.0</c:v>
                </c:pt>
                <c:pt idx="4">
                  <c:v>31018165.0</c:v>
                </c:pt>
                <c:pt idx="5">
                  <c:v>15170335.0</c:v>
                </c:pt>
                <c:pt idx="6">
                  <c:v>1106540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72</a:t>
                    </a:r>
                  </a:p>
                </c:rich>
              </c:tx>
              <c:dLblPos val="ctr"/>
              <c:showLegendKey val="0"/>
              <c:showVal val="1"/>
              <c:showCatName val="0"/>
              <c:showSerName val="0"/>
              <c:showPercent val="0"/>
              <c:showBubbleSize val="0"/>
            </c:dLbl>
            <c:dLbl>
              <c:idx val="1"/>
              <c:tx>
                <c:rich>
                  <a:bodyPr/>
                  <a:lstStyle/>
                  <a:p>
                    <a:pPr>
                      <a:defRPr sz="800">
                        <a:latin typeface="Nexa Book"/>
                      </a:defRPr>
                    </a:pPr>
                    <a:r>
                      <a:t>239</a:t>
                    </a:r>
                  </a:p>
                </c:rich>
              </c:tx>
              <c:dLblPos val="ctr"/>
              <c:showLegendKey val="0"/>
              <c:showVal val="1"/>
              <c:showCatName val="0"/>
              <c:showSerName val="0"/>
              <c:showPercent val="0"/>
              <c:showBubbleSize val="0"/>
            </c:dLbl>
            <c:dLbl>
              <c:idx val="2"/>
              <c:tx>
                <c:rich>
                  <a:bodyPr/>
                  <a:lstStyle/>
                  <a:p>
                    <a:pPr>
                      <a:defRPr sz="800">
                        <a:latin typeface="Nexa Book"/>
                      </a:defRPr>
                    </a:pPr>
                    <a:r>
                      <a:t>46</a:t>
                    </a:r>
                  </a:p>
                </c:rich>
              </c:tx>
              <c:dLblPos val="ctr"/>
              <c:showLegendKey val="0"/>
              <c:showVal val="1"/>
              <c:showCatName val="0"/>
              <c:showSerName val="0"/>
              <c:showPercent val="0"/>
              <c:showBubbleSize val="0"/>
            </c:dLbl>
            <c:dLbl>
              <c:idx val="3"/>
              <c:tx>
                <c:rich>
                  <a:bodyPr/>
                  <a:lstStyle/>
                  <a:p>
                    <a:pPr>
                      <a:defRPr sz="800">
                        <a:latin typeface="Nexa Book"/>
                      </a:defRPr>
                    </a:pPr>
                    <a:r>
                      <a:t>50</a:t>
                    </a:r>
                  </a:p>
                </c:rich>
              </c:tx>
              <c:dLblPos val="ctr"/>
              <c:showLegendKey val="0"/>
              <c:showVal val="1"/>
              <c:showCatName val="0"/>
              <c:showSerName val="0"/>
              <c:showPercent val="0"/>
              <c:showBubbleSize val="0"/>
            </c:dLbl>
            <c:dLbl>
              <c:idx val="4"/>
              <c:tx>
                <c:rich>
                  <a:bodyPr/>
                  <a:lstStyle/>
                  <a:p>
                    <a:pPr>
                      <a:defRPr sz="800">
                        <a:latin typeface="Nexa Book"/>
                      </a:defRPr>
                    </a:pPr>
                    <a:r>
                      <a:t>25</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r>
                      <a:t>1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37238296.0</c:v>
                </c:pt>
                <c:pt idx="1">
                  <c:v>23908147.0</c:v>
                </c:pt>
                <c:pt idx="2">
                  <c:v>4636502.0</c:v>
                </c:pt>
                <c:pt idx="3">
                  <c:v>5024744.0</c:v>
                </c:pt>
                <c:pt idx="4">
                  <c:v>2499695.0</c:v>
                </c:pt>
                <c:pt idx="5">
                  <c:v>97922.0</c:v>
                </c:pt>
                <c:pt idx="6">
                  <c:v>107128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0 %</a:t>
                    </a:r>
                  </a:p>
                </c:rich>
              </c:tx>
              <c:dLblPos val="ctr"/>
              <c:showLegendKey val="0"/>
              <c:showVal val="1"/>
              <c:showCatName val="0"/>
              <c:showSerName val="0"/>
              <c:showPercent val="0"/>
              <c:showBubbleSize val="0"/>
            </c:dLbl>
            <c:dLbl>
              <c:idx val="2"/>
              <c:tx>
                <c:rich>
                  <a:bodyPr/>
                  <a:lstStyle/>
                  <a:p>
                    <a:pPr>
                      <a:defRPr sz="800">
                        <a:latin typeface="Nexa Book"/>
                      </a:defRPr>
                    </a:pPr>
                    <a:r>
                      <a:t>2.0 %</a:t>
                    </a:r>
                  </a:p>
                </c:rich>
              </c:tx>
              <c:dLblPos val="ctr"/>
              <c:showLegendKey val="0"/>
              <c:showVal val="1"/>
              <c:showCatName val="0"/>
              <c:showSerName val="0"/>
              <c:showPercent val="0"/>
              <c:showBubbleSize val="0"/>
            </c:dLbl>
            <c:dLbl>
              <c:idx val="3"/>
              <c:tx>
                <c:rich>
                  <a:bodyPr/>
                  <a:lstStyle/>
                  <a:p>
                    <a:pPr>
                      <a:defRPr sz="800">
                        <a:latin typeface="Nexa Book"/>
                      </a:defRPr>
                    </a:pPr>
                    <a:r>
                      <a:t>-1.4 %</a:t>
                    </a:r>
                  </a:p>
                </c:rich>
              </c:tx>
              <c:dLblPos val="ctr"/>
              <c:showLegendKey val="0"/>
              <c:showVal val="1"/>
              <c:showCatName val="0"/>
              <c:showSerName val="0"/>
              <c:showPercent val="0"/>
              <c:showBubbleSize val="0"/>
            </c:dLbl>
            <c:dLbl>
              <c:idx val="4"/>
              <c:tx>
                <c:rich>
                  <a:bodyPr/>
                  <a:lstStyle/>
                  <a:p>
                    <a:pPr>
                      <a:defRPr sz="800">
                        <a:latin typeface="Nexa Book"/>
                      </a:defRPr>
                    </a:pPr>
                    <a:r>
                      <a:t>-0.4 %</a:t>
                    </a:r>
                  </a:p>
                </c:rich>
              </c:tx>
              <c:dLblPos val="ctr"/>
              <c:showLegendKey val="0"/>
              <c:showVal val="1"/>
              <c:showCatName val="0"/>
              <c:showSerName val="0"/>
              <c:showPercent val="0"/>
              <c:showBubbleSize val="0"/>
            </c:dLbl>
            <c:dLbl>
              <c:idx val="5"/>
              <c:tx>
                <c:rich>
                  <a:bodyPr/>
                  <a:lstStyle/>
                  <a:p>
                    <a:pPr>
                      <a:defRPr sz="800">
                        <a:latin typeface="Nexa Book"/>
                      </a:defRPr>
                    </a:pPr>
                    <a:r>
                      <a:t>0.8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009782404912155207</c:v>
                </c:pt>
                <c:pt idx="2">
                  <c:v>0.020188880217092836</c:v>
                </c:pt>
                <c:pt idx="3">
                  <c:v>-0.013906405392615506</c:v>
                </c:pt>
                <c:pt idx="4">
                  <c:v>-0.004047134616590481</c:v>
                </c:pt>
                <c:pt idx="5">
                  <c:v>0.008190012355763249</c:v>
                </c:pt>
                <c:pt idx="6">
                  <c:v>-0.000642947651494897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2.1 %</a:t>
                    </a:r>
                  </a:p>
                </c:rich>
              </c:tx>
              <c:dLblPos val="ctr"/>
              <c:showLegendKey val="0"/>
              <c:showVal val="1"/>
              <c:showCatName val="0"/>
              <c:showSerName val="0"/>
              <c:showPercent val="0"/>
              <c:showBubbleSize val="0"/>
            </c:dLbl>
            <c:dLbl>
              <c:idx val="2"/>
              <c:tx>
                <c:rich>
                  <a:bodyPr/>
                  <a:lstStyle/>
                  <a:p>
                    <a:pPr>
                      <a:defRPr sz="800">
                        <a:latin typeface="Nexa Book"/>
                      </a:defRPr>
                    </a:pPr>
                    <a:r>
                      <a:t>9.9 %</a:t>
                    </a:r>
                  </a:p>
                </c:rich>
              </c:tx>
              <c:dLblPos val="ctr"/>
              <c:showLegendKey val="0"/>
              <c:showVal val="1"/>
              <c:showCatName val="0"/>
              <c:showSerName val="0"/>
              <c:showPercent val="0"/>
              <c:showBubbleSize val="0"/>
            </c:dLbl>
            <c:dLbl>
              <c:idx val="3"/>
              <c:tx>
                <c:rich>
                  <a:bodyPr/>
                  <a:lstStyle/>
                  <a:p>
                    <a:pPr>
                      <a:defRPr sz="800">
                        <a:latin typeface="Nexa Book"/>
                      </a:defRPr>
                    </a:pPr>
                    <a:r>
                      <a:t>5.3 %</a:t>
                    </a:r>
                  </a:p>
                </c:rich>
              </c:tx>
              <c:dLblPos val="ctr"/>
              <c:showLegendKey val="0"/>
              <c:showVal val="1"/>
              <c:showCatName val="0"/>
              <c:showSerName val="0"/>
              <c:showPercent val="0"/>
              <c:showBubbleSize val="0"/>
            </c:dLbl>
            <c:dLbl>
              <c:idx val="4"/>
              <c:tx>
                <c:rich>
                  <a:bodyPr/>
                  <a:lstStyle/>
                  <a:p>
                    <a:pPr>
                      <a:defRPr sz="800">
                        <a:latin typeface="Nexa Book"/>
                      </a:defRPr>
                    </a:pPr>
                    <a:r>
                      <a:t>-2.0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1206565732302346</c:v>
                </c:pt>
                <c:pt idx="2">
                  <c:v>0.09891809611863697</c:v>
                </c:pt>
                <c:pt idx="3">
                  <c:v>0.05307196635986598</c:v>
                </c:pt>
                <c:pt idx="4">
                  <c:v>-0.02040825921742205</c:v>
                </c:pt>
                <c:pt idx="5">
                  <c:v>-0.004750307634173967</c:v>
                </c:pt>
                <c:pt idx="6">
                  <c:v>-0.00617492239667231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0.4 %</a:t>
                    </a:r>
                  </a:p>
                </c:rich>
              </c:tx>
              <c:dLblPos val="ctr"/>
              <c:showLegendKey val="0"/>
              <c:showVal val="1"/>
              <c:showCatName val="0"/>
              <c:showSerName val="0"/>
              <c:showPercent val="0"/>
              <c:showBubbleSize val="0"/>
            </c:dLbl>
            <c:dLbl>
              <c:idx val="2"/>
              <c:tx>
                <c:rich>
                  <a:bodyPr/>
                  <a:lstStyle/>
                  <a:p>
                    <a:pPr>
                      <a:defRPr sz="800">
                        <a:latin typeface="Nexa Book"/>
                      </a:defRPr>
                    </a:pPr>
                    <a:r>
                      <a:t>16.5 %</a:t>
                    </a:r>
                  </a:p>
                </c:rich>
              </c:tx>
              <c:dLblPos val="ctr"/>
              <c:showLegendKey val="0"/>
              <c:showVal val="1"/>
              <c:showCatName val="0"/>
              <c:showSerName val="0"/>
              <c:showPercent val="0"/>
              <c:showBubbleSize val="0"/>
            </c:dLbl>
            <c:dLbl>
              <c:idx val="3"/>
              <c:tx>
                <c:rich>
                  <a:bodyPr/>
                  <a:lstStyle/>
                  <a:p>
                    <a:pPr>
                      <a:defRPr sz="800">
                        <a:latin typeface="Nexa Book"/>
                      </a:defRPr>
                    </a:pPr>
                    <a:r>
                      <a:t>13.5 %</a:t>
                    </a:r>
                  </a:p>
                </c:rich>
              </c:tx>
              <c:dLblPos val="ctr"/>
              <c:showLegendKey val="0"/>
              <c:showVal val="1"/>
              <c:showCatName val="0"/>
              <c:showSerName val="0"/>
              <c:showPercent val="0"/>
              <c:showBubbleSize val="0"/>
            </c:dLbl>
            <c:dLbl>
              <c:idx val="4"/>
              <c:tx>
                <c:rich>
                  <a:bodyPr/>
                  <a:lstStyle/>
                  <a:p>
                    <a:pPr>
                      <a:defRPr sz="800">
                        <a:latin typeface="Nexa Book"/>
                      </a:defRPr>
                    </a:pPr>
                    <a:r>
                      <a:t>9.6 %</a:t>
                    </a:r>
                  </a:p>
                </c:rich>
              </c:tx>
              <c:dLblPos val="ctr"/>
              <c:showLegendKey val="0"/>
              <c:showVal val="1"/>
              <c:showCatName val="0"/>
              <c:showSerName val="0"/>
              <c:showPercent val="0"/>
              <c:showBubbleSize val="0"/>
            </c:dLbl>
            <c:dLbl>
              <c:idx val="5"/>
              <c:tx>
                <c:rich>
                  <a:bodyPr/>
                  <a:lstStyle/>
                  <a:p>
                    <a:pPr>
                      <a:defRPr sz="800">
                        <a:latin typeface="Nexa Book"/>
                      </a:defRPr>
                    </a:pPr>
                    <a:r>
                      <a:t>7.3 %</a:t>
                    </a:r>
                  </a:p>
                </c:rich>
              </c:tx>
              <c:dLblPos val="ctr"/>
              <c:showLegendKey val="0"/>
              <c:showVal val="1"/>
              <c:showCatName val="0"/>
              <c:showSerName val="0"/>
              <c:showPercent val="0"/>
              <c:showBubbleSize val="0"/>
            </c:dLbl>
            <c:dLbl>
              <c:idx val="6"/>
              <c:tx>
                <c:rich>
                  <a:bodyPr/>
                  <a:lstStyle/>
                  <a:p>
                    <a:pPr>
                      <a:defRPr sz="800">
                        <a:latin typeface="Nexa Book"/>
                      </a:defRPr>
                    </a:pPr>
                    <a:r>
                      <a:t>2.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1.0</c:v>
                </c:pt>
                <c:pt idx="1">
                  <c:v>0.5042953786952483</c:v>
                </c:pt>
                <c:pt idx="2">
                  <c:v>0.16457274921875173</c:v>
                </c:pt>
                <c:pt idx="3">
                  <c:v>0.13461092289421606</c:v>
                </c:pt>
                <c:pt idx="4">
                  <c:v>0.09638597045811854</c:v>
                </c:pt>
                <c:pt idx="5">
                  <c:v>0.07279266884262477</c:v>
                </c:pt>
                <c:pt idx="6">
                  <c:v>0.0273423098910406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5.9 %</a:t>
                    </a:r>
                  </a:p>
                </c:rich>
              </c:tx>
              <c:dLblPos val="ctr"/>
              <c:showLegendKey val="0"/>
              <c:showVal val="1"/>
              <c:showCatName val="0"/>
              <c:showSerName val="0"/>
              <c:showPercent val="0"/>
              <c:showBubbleSize val="0"/>
            </c:dLbl>
            <c:dLbl>
              <c:idx val="3"/>
              <c:tx>
                <c:rich>
                  <a:bodyPr/>
                  <a:lstStyle/>
                  <a:p>
                    <a:pPr>
                      <a:defRPr sz="800">
                        <a:latin typeface="Nexa Book"/>
                      </a:defRPr>
                    </a:pPr>
                    <a:r>
                      <a:t>23.4 %</a:t>
                    </a:r>
                  </a:p>
                </c:rich>
              </c:tx>
              <c:dLblPos val="ctr"/>
              <c:showLegendKey val="0"/>
              <c:showVal val="1"/>
              <c:showCatName val="0"/>
              <c:showSerName val="0"/>
              <c:showPercent val="0"/>
              <c:showBubbleSize val="0"/>
            </c:dLbl>
            <c:dLbl>
              <c:idx val="4"/>
              <c:tx>
                <c:rich>
                  <a:bodyPr/>
                  <a:lstStyle/>
                  <a:p>
                    <a:pPr>
                      <a:defRPr sz="800">
                        <a:latin typeface="Nexa Book"/>
                      </a:defRPr>
                    </a:pPr>
                    <a:r>
                      <a:t>70.7 %</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1.0</c:v>
                </c:pt>
                <c:pt idx="1">
                  <c:v>0.0</c:v>
                </c:pt>
                <c:pt idx="2">
                  <c:v>0.058733957450073856</c:v>
                </c:pt>
                <c:pt idx="3">
                  <c:v>0.23386632647188596</c:v>
                </c:pt>
                <c:pt idx="4">
                  <c:v>0.7073997160780402</c:v>
                </c:pt>
                <c:pt idx="5">
                  <c:v>0.0</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665</a:t>
                    </a:r>
                  </a:p>
                </c:rich>
              </c:tx>
              <c:dLblPos val="ctr"/>
              <c:showLegendKey val="0"/>
              <c:showVal val="1"/>
              <c:showCatName val="0"/>
              <c:showSerName val="0"/>
              <c:showPercent val="0"/>
              <c:showBubbleSize val="0"/>
            </c:dLbl>
            <c:dLbl>
              <c:idx val="1"/>
              <c:tx>
                <c:rich>
                  <a:bodyPr/>
                  <a:lstStyle/>
                  <a:p>
                    <a:pPr>
                      <a:defRPr sz="800">
                        <a:latin typeface="Nexa Book"/>
                      </a:defRPr>
                    </a:pPr>
                    <a:r>
                      <a:t>335</a:t>
                    </a:r>
                  </a:p>
                </c:rich>
              </c:tx>
              <c:dLblPos val="ctr"/>
              <c:showLegendKey val="0"/>
              <c:showVal val="1"/>
              <c:showCatName val="0"/>
              <c:showSerName val="0"/>
              <c:showPercent val="0"/>
              <c:showBubbleSize val="0"/>
            </c:dLbl>
            <c:dLbl>
              <c:idx val="2"/>
              <c:tx>
                <c:rich>
                  <a:bodyPr/>
                  <a:lstStyle/>
                  <a:p>
                    <a:pPr>
                      <a:defRPr sz="800">
                        <a:latin typeface="Nexa Book"/>
                      </a:defRPr>
                    </a:pPr>
                    <a:r>
                      <a:t>109</a:t>
                    </a:r>
                  </a:p>
                </c:rich>
              </c:tx>
              <c:dLblPos val="ctr"/>
              <c:showLegendKey val="0"/>
              <c:showVal val="1"/>
              <c:showCatName val="0"/>
              <c:showSerName val="0"/>
              <c:showPercent val="0"/>
              <c:showBubbleSize val="0"/>
            </c:dLbl>
            <c:dLbl>
              <c:idx val="3"/>
              <c:tx>
                <c:rich>
                  <a:bodyPr/>
                  <a:lstStyle/>
                  <a:p>
                    <a:pPr>
                      <a:defRPr sz="800">
                        <a:latin typeface="Nexa Book"/>
                      </a:defRPr>
                    </a:pPr>
                    <a:r>
                      <a:t>90</a:t>
                    </a:r>
                  </a:p>
                </c:rich>
              </c:tx>
              <c:dLblPos val="ctr"/>
              <c:showLegendKey val="0"/>
              <c:showVal val="1"/>
              <c:showCatName val="0"/>
              <c:showSerName val="0"/>
              <c:showPercent val="0"/>
              <c:showBubbleSize val="0"/>
            </c:dLbl>
            <c:dLbl>
              <c:idx val="4"/>
              <c:tx>
                <c:rich>
                  <a:bodyPr/>
                  <a:lstStyle/>
                  <a:p>
                    <a:pPr>
                      <a:defRPr sz="800">
                        <a:latin typeface="Nexa Book"/>
                      </a:defRPr>
                    </a:pPr>
                    <a:r>
                      <a:t>64</a:t>
                    </a:r>
                  </a:p>
                </c:rich>
              </c:tx>
              <c:dLblPos val="ctr"/>
              <c:showLegendKey val="0"/>
              <c:showVal val="1"/>
              <c:showCatName val="0"/>
              <c:showSerName val="0"/>
              <c:showPercent val="0"/>
              <c:showBubbleSize val="0"/>
            </c:dLbl>
            <c:dLbl>
              <c:idx val="5"/>
              <c:tx>
                <c:rich>
                  <a:bodyPr/>
                  <a:lstStyle/>
                  <a:p>
                    <a:pPr>
                      <a:defRPr sz="800">
                        <a:latin typeface="Nexa Book"/>
                      </a:defRPr>
                    </a:pPr>
                    <a:r>
                      <a:t>48</a:t>
                    </a:r>
                  </a:p>
                </c:rich>
              </c:tx>
              <c:dLblPos val="ctr"/>
              <c:showLegendKey val="0"/>
              <c:showVal val="1"/>
              <c:showCatName val="0"/>
              <c:showSerName val="0"/>
              <c:showPercent val="0"/>
              <c:showBubbleSize val="0"/>
            </c:dLbl>
            <c:dLbl>
              <c:idx val="6"/>
              <c:tx>
                <c:rich>
                  <a:bodyPr/>
                  <a:lstStyle/>
                  <a:p>
                    <a:pPr>
                      <a:defRPr sz="800">
                        <a:latin typeface="Nexa Book"/>
                      </a:defRPr>
                    </a:pPr>
                    <a:r>
                      <a:t>18</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66501587.0</c:v>
                </c:pt>
                <c:pt idx="1">
                  <c:v>33536443.0</c:v>
                </c:pt>
                <c:pt idx="2">
                  <c:v>10944349.0</c:v>
                </c:pt>
                <c:pt idx="3">
                  <c:v>8951840.0</c:v>
                </c:pt>
                <c:pt idx="4">
                  <c:v>6409820.0</c:v>
                </c:pt>
                <c:pt idx="5">
                  <c:v>4840828.0</c:v>
                </c:pt>
                <c:pt idx="6">
                  <c:v>1818307.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4</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dLbl>
              <c:idx val="3"/>
              <c:tx>
                <c:rich>
                  <a:bodyPr/>
                  <a:lstStyle/>
                  <a:p>
                    <a:pPr>
                      <a:defRPr sz="800">
                        <a:latin typeface="Nexa Book"/>
                      </a:defRPr>
                    </a:pPr>
                    <a:r>
                      <a:t>1</a:t>
                    </a:r>
                  </a:p>
                </c:rich>
              </c:tx>
              <c:dLblPos val="ctr"/>
              <c:showLegendKey val="0"/>
              <c:showVal val="1"/>
              <c:showCatName val="0"/>
              <c:showSerName val="0"/>
              <c:showPercent val="0"/>
              <c:showBubbleSize val="0"/>
            </c:dLbl>
            <c:dLbl>
              <c:idx val="4"/>
              <c:tx>
                <c:rich>
                  <a:bodyPr/>
                  <a:lstStyle/>
                  <a:p>
                    <a:pPr>
                      <a:defRPr sz="800">
                        <a:latin typeface="Nexa Book"/>
                      </a:defRPr>
                    </a:pPr>
                    <a:r>
                      <a:t>3</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417016.0</c:v>
                </c:pt>
                <c:pt idx="1">
                  <c:v>0.0</c:v>
                </c:pt>
                <c:pt idx="2">
                  <c:v>24493.0</c:v>
                </c:pt>
                <c:pt idx="3">
                  <c:v>97526.0</c:v>
                </c:pt>
                <c:pt idx="4">
                  <c:v>294997.0</c:v>
                </c:pt>
                <c:pt idx="5">
                  <c:v>0.0</c:v>
                </c:pt>
                <c:pt idx="6">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3 %</a:t>
                    </a:r>
                  </a:p>
                </c:rich>
              </c:tx>
              <c:dLblPos val="ctr"/>
              <c:showLegendKey val="0"/>
              <c:showVal val="1"/>
              <c:showCatName val="0"/>
              <c:showSerName val="0"/>
              <c:showPercent val="0"/>
              <c:showBubbleSize val="0"/>
            </c:dLbl>
            <c:dLbl>
              <c:idx val="2"/>
              <c:tx>
                <c:rich>
                  <a:bodyPr/>
                  <a:lstStyle/>
                  <a:p>
                    <a:pPr>
                      <a:defRPr sz="800">
                        <a:latin typeface="Nexa Book"/>
                      </a:defRPr>
                    </a:pPr>
                    <a:r>
                      <a:t>-1.7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dLbl>
              <c:idx val="4"/>
              <c:tx>
                <c:rich>
                  <a:bodyPr/>
                  <a:lstStyle/>
                  <a:p>
                    <a:pPr>
                      <a:defRPr sz="800">
                        <a:latin typeface="Nexa Book"/>
                      </a:defRPr>
                    </a:pPr>
                    <a:r>
                      <a:t>-0.4 %</a:t>
                    </a:r>
                  </a:p>
                </c:rich>
              </c:tx>
              <c:dLblPos val="ctr"/>
              <c:showLegendKey val="0"/>
              <c:showVal val="1"/>
              <c:showCatName val="0"/>
              <c:showSerName val="0"/>
              <c:showPercent val="0"/>
              <c:showBubbleSize val="0"/>
            </c:dLbl>
            <c:dLbl>
              <c:idx val="5"/>
              <c:tx>
                <c:rich>
                  <a:bodyPr/>
                  <a:lstStyle/>
                  <a:p>
                    <a:pPr>
                      <a:defRPr sz="800">
                        <a:latin typeface="Nexa Book"/>
                      </a:defRPr>
                    </a:pPr>
                    <a:r>
                      <a:t>-0.4 %</a:t>
                    </a:r>
                  </a:p>
                </c:rich>
              </c:tx>
              <c:dLblPos val="ctr"/>
              <c:showLegendKey val="0"/>
              <c:showVal val="1"/>
              <c:showCatName val="0"/>
              <c:showSerName val="0"/>
              <c:showPercent val="0"/>
              <c:showBubbleSize val="0"/>
            </c:dLbl>
            <c:dLbl>
              <c:idx val="6"/>
              <c:tx>
                <c:rich>
                  <a:bodyPr/>
                  <a:lstStyle/>
                  <a:p>
                    <a:pPr>
                      <a:defRPr sz="800">
                        <a:latin typeface="Nexa Book"/>
                      </a:defRPr>
                    </a:pPr>
                    <a:r>
                      <a:t>0.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0.0</c:v>
                </c:pt>
                <c:pt idx="1">
                  <c:v>0.033407723398427236</c:v>
                </c:pt>
                <c:pt idx="2">
                  <c:v>-0.01677890995519099</c:v>
                </c:pt>
                <c:pt idx="3">
                  <c:v>-0.009060074730857903</c:v>
                </c:pt>
                <c:pt idx="4">
                  <c:v>-0.0036659259411397083</c:v>
                </c:pt>
                <c:pt idx="5">
                  <c:v>-0.004143311158176455</c:v>
                </c:pt>
                <c:pt idx="6">
                  <c:v>0.0002404983869378762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5.2 %</a:t>
                    </a:r>
                  </a:p>
                </c:rich>
              </c:tx>
              <c:dLblPos val="ctr"/>
              <c:showLegendKey val="0"/>
              <c:showVal val="1"/>
              <c:showCatName val="0"/>
              <c:showSerName val="0"/>
              <c:showPercent val="0"/>
              <c:showBubbleSize val="0"/>
            </c:dLbl>
            <c:dLbl>
              <c:idx val="3"/>
              <c:tx>
                <c:rich>
                  <a:bodyPr/>
                  <a:lstStyle/>
                  <a:p>
                    <a:pPr>
                      <a:defRPr sz="800">
                        <a:latin typeface="Nexa Book"/>
                      </a:defRPr>
                    </a:pPr>
                    <a:r>
                      <a:t>-65.5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0.0</c:v>
                </c:pt>
                <c:pt idx="1">
                  <c:v>0.0</c:v>
                </c:pt>
                <c:pt idx="2">
                  <c:v>-0.052269882612408516</c:v>
                </c:pt>
                <c:pt idx="3">
                  <c:v>-0.6551298334656317</c:v>
                </c:pt>
                <c:pt idx="4">
                  <c:v>0.0</c:v>
                </c:pt>
                <c:pt idx="5">
                  <c:v>0.0</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2 %</a:t>
                    </a:r>
                  </a:p>
                </c:rich>
              </c:tx>
              <c:dLblPos val="ctr"/>
              <c:showLegendKey val="0"/>
              <c:showVal val="1"/>
              <c:showCatName val="0"/>
              <c:showSerName val="0"/>
              <c:showPercent val="0"/>
              <c:showBubbleSize val="0"/>
            </c:dLbl>
            <c:dLbl>
              <c:idx val="2"/>
              <c:tx>
                <c:rich>
                  <a:bodyPr/>
                  <a:lstStyle/>
                  <a:p>
                    <a:pPr>
                      <a:defRPr sz="800">
                        <a:latin typeface="Nexa Book"/>
                      </a:defRPr>
                    </a:pPr>
                    <a:r>
                      <a:t>15.9 %</a:t>
                    </a:r>
                  </a:p>
                </c:rich>
              </c:tx>
              <c:dLblPos val="ctr"/>
              <c:showLegendKey val="0"/>
              <c:showVal val="1"/>
              <c:showCatName val="0"/>
              <c:showSerName val="0"/>
              <c:showPercent val="0"/>
              <c:showBubbleSize val="0"/>
            </c:dLbl>
            <c:dLbl>
              <c:idx val="3"/>
              <c:tx>
                <c:rich>
                  <a:bodyPr/>
                  <a:lstStyle/>
                  <a:p>
                    <a:pPr>
                      <a:defRPr sz="800">
                        <a:latin typeface="Nexa Book"/>
                      </a:defRPr>
                    </a:pPr>
                    <a:r>
                      <a:t>12.4 %</a:t>
                    </a:r>
                  </a:p>
                </c:rich>
              </c:tx>
              <c:dLblPos val="ctr"/>
              <c:showLegendKey val="0"/>
              <c:showVal val="1"/>
              <c:showCatName val="0"/>
              <c:showSerName val="0"/>
              <c:showPercent val="0"/>
              <c:showBubbleSize val="0"/>
            </c:dLbl>
            <c:dLbl>
              <c:idx val="4"/>
              <c:tx>
                <c:rich>
                  <a:bodyPr/>
                  <a:lstStyle/>
                  <a:p>
                    <a:pPr>
                      <a:defRPr sz="800">
                        <a:latin typeface="Nexa Book"/>
                      </a:defRPr>
                    </a:pPr>
                    <a:r>
                      <a:t>8.8 %</a:t>
                    </a:r>
                  </a:p>
                </c:rich>
              </c:tx>
              <c:dLblPos val="ctr"/>
              <c:showLegendKey val="0"/>
              <c:showVal val="1"/>
              <c:showCatName val="0"/>
              <c:showSerName val="0"/>
              <c:showPercent val="0"/>
              <c:showBubbleSize val="0"/>
            </c:dLbl>
            <c:dLbl>
              <c:idx val="5"/>
              <c:tx>
                <c:rich>
                  <a:bodyPr/>
                  <a:lstStyle/>
                  <a:p>
                    <a:pPr>
                      <a:defRPr sz="800">
                        <a:latin typeface="Nexa Book"/>
                      </a:defRPr>
                    </a:pPr>
                    <a:r>
                      <a:t>4.3 %</a:t>
                    </a:r>
                  </a:p>
                </c:rich>
              </c:tx>
              <c:dLblPos val="ctr"/>
              <c:showLegendKey val="0"/>
              <c:showVal val="1"/>
              <c:showCatName val="0"/>
              <c:showSerName val="0"/>
              <c:showPercent val="0"/>
              <c:showBubbleSize val="0"/>
            </c:dLbl>
            <c:dLbl>
              <c:idx val="6"/>
              <c:tx>
                <c:rich>
                  <a:bodyPr/>
                  <a:lstStyle/>
                  <a:p>
                    <a:pPr>
                      <a:defRPr sz="800">
                        <a:latin typeface="Nexa Book"/>
                      </a:defRPr>
                    </a:pPr>
                    <a:r>
                      <a:t>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5523696605630734</c:v>
                </c:pt>
                <c:pt idx="2">
                  <c:v>0.15909649758105643</c:v>
                </c:pt>
                <c:pt idx="3">
                  <c:v>0.12443035813642755</c:v>
                </c:pt>
                <c:pt idx="4">
                  <c:v>0.08828915758870423</c:v>
                </c:pt>
                <c:pt idx="5">
                  <c:v>0.04268654527492872</c:v>
                </c:pt>
                <c:pt idx="6">
                  <c:v>0.0331277808558097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92.6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7.4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0</c:v>
                </c:pt>
                <c:pt idx="2">
                  <c:v>0.0</c:v>
                </c:pt>
                <c:pt idx="3">
                  <c:v>0.9256270963054333</c:v>
                </c:pt>
                <c:pt idx="4">
                  <c:v>0.0</c:v>
                </c:pt>
                <c:pt idx="5">
                  <c:v>0.07437290369456671</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232</a:t>
                    </a:r>
                  </a:p>
                </c:rich>
              </c:tx>
              <c:dLblPos val="ctr"/>
              <c:showLegendKey val="0"/>
              <c:showVal val="1"/>
              <c:showCatName val="0"/>
              <c:showSerName val="0"/>
              <c:showPercent val="0"/>
              <c:showBubbleSize val="0"/>
            </c:dLbl>
            <c:dLbl>
              <c:idx val="1"/>
              <c:tx>
                <c:rich>
                  <a:bodyPr/>
                  <a:lstStyle/>
                  <a:p>
                    <a:pPr>
                      <a:defRPr sz="800">
                        <a:latin typeface="Nexa Book"/>
                      </a:defRPr>
                    </a:pPr>
                    <a:r>
                      <a:t>681</a:t>
                    </a:r>
                  </a:p>
                </c:rich>
              </c:tx>
              <c:dLblPos val="ctr"/>
              <c:showLegendKey val="0"/>
              <c:showVal val="1"/>
              <c:showCatName val="0"/>
              <c:showSerName val="0"/>
              <c:showPercent val="0"/>
              <c:showBubbleSize val="0"/>
            </c:dLbl>
            <c:dLbl>
              <c:idx val="2"/>
              <c:tx>
                <c:rich>
                  <a:bodyPr/>
                  <a:lstStyle/>
                  <a:p>
                    <a:pPr>
                      <a:defRPr sz="800">
                        <a:latin typeface="Nexa Book"/>
                      </a:defRPr>
                    </a:pPr>
                    <a:r>
                      <a:t>196</a:t>
                    </a:r>
                  </a:p>
                </c:rich>
              </c:tx>
              <c:dLblPos val="ctr"/>
              <c:showLegendKey val="0"/>
              <c:showVal val="1"/>
              <c:showCatName val="0"/>
              <c:showSerName val="0"/>
              <c:showPercent val="0"/>
              <c:showBubbleSize val="0"/>
            </c:dLbl>
            <c:dLbl>
              <c:idx val="3"/>
              <c:tx>
                <c:rich>
                  <a:bodyPr/>
                  <a:lstStyle/>
                  <a:p>
                    <a:pPr>
                      <a:defRPr sz="800">
                        <a:latin typeface="Nexa Book"/>
                      </a:defRPr>
                    </a:pPr>
                    <a:r>
                      <a:t>153</a:t>
                    </a:r>
                  </a:p>
                </c:rich>
              </c:tx>
              <c:dLblPos val="ctr"/>
              <c:showLegendKey val="0"/>
              <c:showVal val="1"/>
              <c:showCatName val="0"/>
              <c:showSerName val="0"/>
              <c:showPercent val="0"/>
              <c:showBubbleSize val="0"/>
            </c:dLbl>
            <c:dLbl>
              <c:idx val="4"/>
              <c:tx>
                <c:rich>
                  <a:bodyPr/>
                  <a:lstStyle/>
                  <a:p>
                    <a:pPr>
                      <a:defRPr sz="800">
                        <a:latin typeface="Nexa Book"/>
                      </a:defRPr>
                    </a:pPr>
                    <a:r>
                      <a:t>109</a:t>
                    </a:r>
                  </a:p>
                </c:rich>
              </c:tx>
              <c:dLblPos val="ctr"/>
              <c:showLegendKey val="0"/>
              <c:showVal val="1"/>
              <c:showCatName val="0"/>
              <c:showSerName val="0"/>
              <c:showPercent val="0"/>
              <c:showBubbleSize val="0"/>
            </c:dLbl>
            <c:dLbl>
              <c:idx val="5"/>
              <c:tx>
                <c:rich>
                  <a:bodyPr/>
                  <a:lstStyle/>
                  <a:p>
                    <a:pPr>
                      <a:defRPr sz="800">
                        <a:latin typeface="Nexa Book"/>
                      </a:defRPr>
                    </a:pPr>
                    <a:r>
                      <a:t>53</a:t>
                    </a:r>
                  </a:p>
                </c:rich>
              </c:tx>
              <c:dLblPos val="ctr"/>
              <c:showLegendKey val="0"/>
              <c:showVal val="1"/>
              <c:showCatName val="0"/>
              <c:showSerName val="0"/>
              <c:showPercent val="0"/>
              <c:showBubbleSize val="0"/>
            </c:dLbl>
            <c:dLbl>
              <c:idx val="6"/>
              <c:tx>
                <c:rich>
                  <a:bodyPr/>
                  <a:lstStyle/>
                  <a:p>
                    <a:pPr>
                      <a:defRPr sz="800">
                        <a:latin typeface="Nexa Book"/>
                      </a:defRPr>
                    </a:pPr>
                    <a:r>
                      <a:t>4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23211845.0</c:v>
                </c:pt>
                <c:pt idx="1">
                  <c:v>68058485.0</c:v>
                </c:pt>
                <c:pt idx="2">
                  <c:v>19602573.0</c:v>
                </c:pt>
                <c:pt idx="3">
                  <c:v>15331294.0</c:v>
                </c:pt>
                <c:pt idx="4">
                  <c:v>10878270.0</c:v>
                </c:pt>
                <c:pt idx="5">
                  <c:v>5259488.0</c:v>
                </c:pt>
                <c:pt idx="6">
                  <c:v>408173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4</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0.4</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473452.0</c:v>
                </c:pt>
                <c:pt idx="1">
                  <c:v>0.0</c:v>
                </c:pt>
                <c:pt idx="2">
                  <c:v>0.0</c:v>
                </c:pt>
                <c:pt idx="3">
                  <c:v>438240.0</c:v>
                </c:pt>
                <c:pt idx="4">
                  <c:v>0.0</c:v>
                </c:pt>
                <c:pt idx="5">
                  <c:v>35212.0</c:v>
                </c:pt>
                <c:pt idx="6">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8 %</a:t>
                    </a:r>
                  </a:p>
                </c:rich>
              </c:tx>
              <c:dLblPos val="ctr"/>
              <c:showLegendKey val="0"/>
              <c:showVal val="1"/>
              <c:showCatName val="0"/>
              <c:showSerName val="0"/>
              <c:showPercent val="0"/>
              <c:showBubbleSize val="0"/>
            </c:dLbl>
            <c:dLbl>
              <c:idx val="3"/>
              <c:tx>
                <c:rich>
                  <a:bodyPr/>
                  <a:lstStyle/>
                  <a:p>
                    <a:pPr>
                      <a:defRPr sz="800">
                        <a:latin typeface="Nexa Book"/>
                      </a:defRPr>
                    </a:pPr>
                    <a:r>
                      <a:t>1.7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22063139434182477</c:v>
                </c:pt>
                <c:pt idx="2">
                  <c:v>0.007824869042437066</c:v>
                </c:pt>
                <c:pt idx="3">
                  <c:v>0.01709528889289992</c:v>
                </c:pt>
                <c:pt idx="4">
                  <c:v>-0.007314622147211264</c:v>
                </c:pt>
                <c:pt idx="5">
                  <c:v>0.006694019744064007</c:v>
                </c:pt>
                <c:pt idx="6">
                  <c:v>-0.00223641609800720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2.0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2.0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c:v>
                </c:pt>
                <c:pt idx="2">
                  <c:v>0.0</c:v>
                </c:pt>
                <c:pt idx="3">
                  <c:v>-0.019998481981808425</c:v>
                </c:pt>
                <c:pt idx="4">
                  <c:v>0.0</c:v>
                </c:pt>
                <c:pt idx="5">
                  <c:v>0.01999848198180841</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480114394857366</c:v>
                </c:pt>
                <c:pt idx="1">
                  <c:v>0.05198342609517159</c:v>
                </c:pt>
                <c:pt idx="2">
                  <c:v>5.134419091823951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14151066808652957</c:v>
                </c:pt>
                <c:pt idx="1">
                  <c:v>-0.14150639723595837</c:v>
                </c:pt>
                <c:pt idx="2">
                  <c:v>-4.27085057117824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3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8.6 %</a:t>
                    </a:r>
                  </a:p>
                </c:rich>
              </c:tx>
              <c:dLblPos val="ctr"/>
              <c:showLegendKey val="0"/>
              <c:showVal val="1"/>
              <c:showCatName val="0"/>
              <c:showSerName val="0"/>
              <c:showPercent val="0"/>
              <c:showBubbleSize val="0"/>
            </c:dLbl>
            <c:dLbl>
              <c:idx val="4"/>
              <c:tx>
                <c:rich>
                  <a:bodyPr/>
                  <a:lstStyle/>
                  <a:p>
                    <a:pPr>
                      <a:defRPr sz="800">
                        <a:latin typeface="Nexa Book"/>
                      </a:defRPr>
                    </a:pPr>
                    <a:r>
                      <a:t>7.7 %</a:t>
                    </a:r>
                  </a:p>
                </c:rich>
              </c:tx>
              <c:dLblPos val="ctr"/>
              <c:showLegendKey val="0"/>
              <c:showVal val="1"/>
              <c:showCatName val="0"/>
              <c:showSerName val="0"/>
              <c:showPercent val="0"/>
              <c:showBubbleSize val="0"/>
            </c:dLbl>
            <c:dLbl>
              <c:idx val="5"/>
              <c:tx>
                <c:rich>
                  <a:bodyPr/>
                  <a:lstStyle/>
                  <a:p>
                    <a:pPr>
                      <a:defRPr sz="800">
                        <a:latin typeface="Nexa Book"/>
                      </a:defRPr>
                    </a:pPr>
                    <a:r>
                      <a:t>6.7 %</a:t>
                    </a:r>
                  </a:p>
                </c:rich>
              </c:tx>
              <c:dLblPos val="ctr"/>
              <c:showLegendKey val="0"/>
              <c:showVal val="1"/>
              <c:showCatName val="0"/>
              <c:showSerName val="0"/>
              <c:showPercent val="0"/>
              <c:showBubbleSize val="0"/>
            </c:dLbl>
            <c:dLbl>
              <c:idx val="6"/>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1.0</c:v>
                </c:pt>
                <c:pt idx="1">
                  <c:v>0.5633217184323093</c:v>
                </c:pt>
                <c:pt idx="2">
                  <c:v>0.1811093452117946</c:v>
                </c:pt>
                <c:pt idx="3">
                  <c:v>0.08583232290464958</c:v>
                </c:pt>
                <c:pt idx="4">
                  <c:v>0.07681524653723956</c:v>
                </c:pt>
                <c:pt idx="5">
                  <c:v>0.0672436732053349</c:v>
                </c:pt>
                <c:pt idx="6">
                  <c:v>0.0256776937086721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3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8.6 %</a:t>
                    </a:r>
                  </a:p>
                </c:rich>
              </c:tx>
              <c:dLblPos val="ctr"/>
              <c:showLegendKey val="0"/>
              <c:showVal val="1"/>
              <c:showCatName val="0"/>
              <c:showSerName val="0"/>
              <c:showPercent val="0"/>
              <c:showBubbleSize val="0"/>
            </c:dLbl>
            <c:dLbl>
              <c:idx val="4"/>
              <c:tx>
                <c:rich>
                  <a:bodyPr/>
                  <a:lstStyle/>
                  <a:p>
                    <a:pPr>
                      <a:defRPr sz="800">
                        <a:latin typeface="Nexa Book"/>
                      </a:defRPr>
                    </a:pPr>
                    <a:r>
                      <a:t>7.7 %</a:t>
                    </a:r>
                  </a:p>
                </c:rich>
              </c:tx>
              <c:dLblPos val="ctr"/>
              <c:showLegendKey val="0"/>
              <c:showVal val="1"/>
              <c:showCatName val="0"/>
              <c:showSerName val="0"/>
              <c:showPercent val="0"/>
              <c:showBubbleSize val="0"/>
            </c:dLbl>
            <c:dLbl>
              <c:idx val="5"/>
              <c:tx>
                <c:rich>
                  <a:bodyPr/>
                  <a:lstStyle/>
                  <a:p>
                    <a:pPr>
                      <a:defRPr sz="800">
                        <a:latin typeface="Nexa Book"/>
                      </a:defRPr>
                    </a:pPr>
                    <a:r>
                      <a:t>6.7 %</a:t>
                    </a:r>
                  </a:p>
                </c:rich>
              </c:tx>
              <c:dLblPos val="ctr"/>
              <c:showLegendKey val="0"/>
              <c:showVal val="1"/>
              <c:showCatName val="0"/>
              <c:showSerName val="0"/>
              <c:showPercent val="0"/>
              <c:showBubbleSize val="0"/>
            </c:dLbl>
            <c:dLbl>
              <c:idx val="6"/>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1.0</c:v>
                </c:pt>
                <c:pt idx="1">
                  <c:v>0.5633217184323093</c:v>
                </c:pt>
                <c:pt idx="2">
                  <c:v>0.1811093452117946</c:v>
                </c:pt>
                <c:pt idx="3">
                  <c:v>0.08583232290464958</c:v>
                </c:pt>
                <c:pt idx="4">
                  <c:v>0.07681524653723956</c:v>
                </c:pt>
                <c:pt idx="5">
                  <c:v>0.0672436732053349</c:v>
                </c:pt>
                <c:pt idx="6">
                  <c:v>0.0256776937086721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57</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9</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7</a:t>
                    </a:r>
                  </a:p>
                </c:rich>
              </c:tx>
              <c:dLblPos val="ctr"/>
              <c:showLegendKey val="0"/>
              <c:showVal val="1"/>
              <c:showCatName val="0"/>
              <c:showSerName val="0"/>
              <c:showPercent val="0"/>
              <c:showBubbleSize val="0"/>
            </c:dLbl>
            <c:dLbl>
              <c:idx val="6"/>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10191219.0</c:v>
                </c:pt>
                <c:pt idx="1">
                  <c:v>5740935.0</c:v>
                </c:pt>
                <c:pt idx="2">
                  <c:v>1845725.0</c:v>
                </c:pt>
                <c:pt idx="3">
                  <c:v>874736.0</c:v>
                </c:pt>
                <c:pt idx="4">
                  <c:v>782841.0</c:v>
                </c:pt>
                <c:pt idx="5">
                  <c:v>685295.0</c:v>
                </c:pt>
                <c:pt idx="6">
                  <c:v>261687.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57</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9</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7</a:t>
                    </a:r>
                  </a:p>
                </c:rich>
              </c:tx>
              <c:dLblPos val="ctr"/>
              <c:showLegendKey val="0"/>
              <c:showVal val="1"/>
              <c:showCatName val="0"/>
              <c:showSerName val="0"/>
              <c:showPercent val="0"/>
              <c:showBubbleSize val="0"/>
            </c:dLbl>
            <c:dLbl>
              <c:idx val="6"/>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10191219.0</c:v>
                </c:pt>
                <c:pt idx="1">
                  <c:v>5740935.0</c:v>
                </c:pt>
                <c:pt idx="2">
                  <c:v>1845725.0</c:v>
                </c:pt>
                <c:pt idx="3">
                  <c:v>874736.0</c:v>
                </c:pt>
                <c:pt idx="4">
                  <c:v>782841.0</c:v>
                </c:pt>
                <c:pt idx="5">
                  <c:v>685295.0</c:v>
                </c:pt>
                <c:pt idx="6">
                  <c:v>26168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7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1.7 %</a:t>
                    </a:r>
                  </a:p>
                </c:rich>
              </c:tx>
              <c:dLblPos val="ctr"/>
              <c:showLegendKey val="0"/>
              <c:showVal val="1"/>
              <c:showCatName val="0"/>
              <c:showSerName val="0"/>
              <c:showPercent val="0"/>
              <c:showBubbleSize val="0"/>
            </c:dLbl>
            <c:dLbl>
              <c:idx val="6"/>
              <c:tx>
                <c:rich>
                  <a:bodyPr/>
                  <a:lstStyle/>
                  <a:p>
                    <a:pPr>
                      <a:defRPr sz="800">
                        <a:latin typeface="Nexa Book"/>
                      </a:defRPr>
                    </a:pPr>
                    <a:r>
                      <a:t>0.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0.0</c:v>
                </c:pt>
                <c:pt idx="1">
                  <c:v>-0.006711173299563056</c:v>
                </c:pt>
                <c:pt idx="2">
                  <c:v>-0.007114332607208618</c:v>
                </c:pt>
                <c:pt idx="3">
                  <c:v>-0.0038465845272455945</c:v>
                </c:pt>
                <c:pt idx="4">
                  <c:v>0.0005930327776907246</c:v>
                </c:pt>
                <c:pt idx="5">
                  <c:v>0.017053007393313453</c:v>
                </c:pt>
                <c:pt idx="6">
                  <c:v>2.6050263013100566e-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7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1.7 %</a:t>
                    </a:r>
                  </a:p>
                </c:rich>
              </c:tx>
              <c:dLblPos val="ctr"/>
              <c:showLegendKey val="0"/>
              <c:showVal val="1"/>
              <c:showCatName val="0"/>
              <c:showSerName val="0"/>
              <c:showPercent val="0"/>
              <c:showBubbleSize val="0"/>
            </c:dLbl>
            <c:dLbl>
              <c:idx val="6"/>
              <c:tx>
                <c:rich>
                  <a:bodyPr/>
                  <a:lstStyle/>
                  <a:p>
                    <a:pPr>
                      <a:defRPr sz="800">
                        <a:latin typeface="Nexa Book"/>
                      </a:defRPr>
                    </a:pPr>
                    <a:r>
                      <a:t>0.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0.0</c:v>
                </c:pt>
                <c:pt idx="1">
                  <c:v>-0.006711608330151719</c:v>
                </c:pt>
                <c:pt idx="2">
                  <c:v>-0.007113713085885459</c:v>
                </c:pt>
                <c:pt idx="3">
                  <c:v>-0.00384665296727503</c:v>
                </c:pt>
                <c:pt idx="4">
                  <c:v>0.0005929746073728287</c:v>
                </c:pt>
                <c:pt idx="5">
                  <c:v>0.017052969089427467</c:v>
                </c:pt>
                <c:pt idx="6">
                  <c:v>2.6030686511972073e-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085852621634388</c:v>
                </c:pt>
                <c:pt idx="1">
                  <c:v>0.33942617732229774</c:v>
                </c:pt>
                <c:pt idx="2">
                  <c:v>0.05198342609517159</c:v>
                </c:pt>
                <c:pt idx="3">
                  <c:v>5.134419091823951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5747933334729338</c:v>
                </c:pt>
                <c:pt idx="1">
                  <c:v>-0.0574844677663852</c:v>
                </c:pt>
                <c:pt idx="2">
                  <c:v>5.134419091823951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4 %</a:t>
                    </a:r>
                  </a:p>
                </c:rich>
              </c:tx>
              <c:dLblPos val="ctr"/>
              <c:showLegendKey val="0"/>
              <c:showVal val="1"/>
              <c:showCatName val="0"/>
              <c:showSerName val="0"/>
              <c:showPercent val="0"/>
              <c:showBubbleSize val="0"/>
            </c:dLbl>
            <c:dLbl>
              <c:idx val="2"/>
              <c:tx>
                <c:rich>
                  <a:bodyPr/>
                  <a:lstStyle/>
                  <a:p>
                    <a:pPr>
                      <a:defRPr sz="800">
                        <a:latin typeface="Nexa Book"/>
                      </a:defRPr>
                    </a:pPr>
                    <a:r>
                      <a:t>16.5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dLbl>
              <c:idx val="4"/>
              <c:tx>
                <c:rich>
                  <a:bodyPr/>
                  <a:lstStyle/>
                  <a:p>
                    <a:pPr>
                      <a:defRPr sz="800">
                        <a:latin typeface="Nexa Book"/>
                      </a:defRPr>
                    </a:pPr>
                    <a:r>
                      <a:t>8.1 %</a:t>
                    </a:r>
                  </a:p>
                </c:rich>
              </c:tx>
              <c:dLblPos val="ctr"/>
              <c:showLegendKey val="0"/>
              <c:showVal val="1"/>
              <c:showCatName val="0"/>
              <c:showSerName val="0"/>
              <c:showPercent val="0"/>
              <c:showBubbleSize val="0"/>
            </c:dLbl>
            <c:dLbl>
              <c:idx val="5"/>
              <c:tx>
                <c:rich>
                  <a:bodyPr/>
                  <a:lstStyle/>
                  <a:p>
                    <a:pPr>
                      <a:defRPr sz="800">
                        <a:latin typeface="Nexa Book"/>
                      </a:defRPr>
                    </a:pPr>
                    <a:r>
                      <a:t>4.0 %</a:t>
                    </a:r>
                  </a:p>
                </c:rich>
              </c:tx>
              <c:dLblPos val="ctr"/>
              <c:showLegendKey val="0"/>
              <c:showVal val="1"/>
              <c:showCatName val="0"/>
              <c:showSerName val="0"/>
              <c:showPercent val="0"/>
              <c:showBubbleSize val="0"/>
            </c:dLbl>
            <c:dLbl>
              <c:idx val="6"/>
              <c:tx>
                <c:rich>
                  <a:bodyPr/>
                  <a:lstStyle/>
                  <a:p>
                    <a:pPr>
                      <a:defRPr sz="800">
                        <a:latin typeface="Nexa Book"/>
                      </a:defRPr>
                    </a:pPr>
                    <a:r>
                      <a:t>2.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5439964535151609</c:v>
                </c:pt>
                <c:pt idx="2">
                  <c:v>0.16518183427729324</c:v>
                </c:pt>
                <c:pt idx="3">
                  <c:v>0.14054869275956966</c:v>
                </c:pt>
                <c:pt idx="4">
                  <c:v>0.08141267066911043</c:v>
                </c:pt>
                <c:pt idx="5">
                  <c:v>0.03981723249247914</c:v>
                </c:pt>
                <c:pt idx="6">
                  <c:v>0.0290431162863866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2.9 %</a:t>
                    </a:r>
                  </a:p>
                </c:rich>
              </c:tx>
              <c:dLblPos val="ctr"/>
              <c:showLegendKey val="0"/>
              <c:showVal val="1"/>
              <c:showCatName val="0"/>
              <c:showSerName val="0"/>
              <c:showPercent val="0"/>
              <c:showBubbleSize val="0"/>
            </c:dLbl>
            <c:dLbl>
              <c:idx val="2"/>
              <c:tx>
                <c:rich>
                  <a:bodyPr/>
                  <a:lstStyle/>
                  <a:p>
                    <a:pPr>
                      <a:defRPr sz="800">
                        <a:latin typeface="Nexa Book"/>
                      </a:defRPr>
                    </a:pPr>
                    <a:r>
                      <a:t>1.4 %</a:t>
                    </a:r>
                  </a:p>
                </c:rich>
              </c:tx>
              <c:dLblPos val="ctr"/>
              <c:showLegendKey val="0"/>
              <c:showVal val="1"/>
              <c:showCatName val="0"/>
              <c:showSerName val="0"/>
              <c:showPercent val="0"/>
              <c:showBubbleSize val="0"/>
            </c:dLbl>
            <c:dLbl>
              <c:idx val="3"/>
              <c:tx>
                <c:rich>
                  <a:bodyPr/>
                  <a:lstStyle/>
                  <a:p>
                    <a:pPr>
                      <a:defRPr sz="800">
                        <a:latin typeface="Nexa Book"/>
                      </a:defRPr>
                    </a:pPr>
                    <a:r>
                      <a:t>79.2 %</a:t>
                    </a:r>
                  </a:p>
                </c:rich>
              </c:tx>
              <c:dLblPos val="ctr"/>
              <c:showLegendKey val="0"/>
              <c:showVal val="1"/>
              <c:showCatName val="0"/>
              <c:showSerName val="0"/>
              <c:showPercent val="0"/>
              <c:showBubbleSize val="0"/>
            </c:dLbl>
            <c:dLbl>
              <c:idx val="4"/>
              <c:tx>
                <c:rich>
                  <a:bodyPr/>
                  <a:lstStyle/>
                  <a:p>
                    <a:pPr>
                      <a:defRPr sz="800">
                        <a:latin typeface="Nexa Book"/>
                      </a:defRPr>
                    </a:pPr>
                    <a:r>
                      <a:t>3.1 %</a:t>
                    </a:r>
                  </a:p>
                </c:rich>
              </c:tx>
              <c:dLblPos val="ctr"/>
              <c:showLegendKey val="0"/>
              <c:showVal val="1"/>
              <c:showCatName val="0"/>
              <c:showSerName val="0"/>
              <c:showPercent val="0"/>
              <c:showBubbleSize val="0"/>
            </c:dLbl>
            <c:dLbl>
              <c:idx val="5"/>
              <c:tx>
                <c:rich>
                  <a:bodyPr/>
                  <a:lstStyle/>
                  <a:p>
                    <a:pPr>
                      <a:defRPr sz="800">
                        <a:latin typeface="Nexa Book"/>
                      </a:defRPr>
                    </a:pPr>
                    <a:r>
                      <a:t>2.3 %</a:t>
                    </a:r>
                  </a:p>
                </c:rich>
              </c:tx>
              <c:dLblPos val="ctr"/>
              <c:showLegendKey val="0"/>
              <c:showVal val="1"/>
              <c:showCatName val="0"/>
              <c:showSerName val="0"/>
              <c:showPercent val="0"/>
              <c:showBubbleSize val="0"/>
            </c:dLbl>
            <c:dLbl>
              <c:idx val="6"/>
              <c:tx>
                <c:rich>
                  <a:bodyPr/>
                  <a:lstStyle/>
                  <a:p>
                    <a:pPr>
                      <a:defRPr sz="800">
                        <a:latin typeface="Nexa Book"/>
                      </a:defRPr>
                    </a:pPr>
                    <a:r>
                      <a:t>1.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12855226652692936</c:v>
                </c:pt>
                <c:pt idx="2">
                  <c:v>0.013630623255610947</c:v>
                </c:pt>
                <c:pt idx="3">
                  <c:v>0.7918670909013914</c:v>
                </c:pt>
                <c:pt idx="4">
                  <c:v>0.03076204032758597</c:v>
                </c:pt>
                <c:pt idx="5">
                  <c:v>0.022867782746581237</c:v>
                </c:pt>
                <c:pt idx="6">
                  <c:v>0.01232019624190108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810</a:t>
                    </a:r>
                  </a:p>
                </c:rich>
              </c:tx>
              <c:dLblPos val="ctr"/>
              <c:showLegendKey val="0"/>
              <c:showVal val="1"/>
              <c:showCatName val="0"/>
              <c:showSerName val="0"/>
              <c:showPercent val="0"/>
              <c:showBubbleSize val="0"/>
            </c:dLbl>
            <c:dLbl>
              <c:idx val="1"/>
              <c:tx>
                <c:rich>
                  <a:bodyPr/>
                  <a:lstStyle/>
                  <a:p>
                    <a:pPr>
                      <a:defRPr sz="800">
                        <a:latin typeface="Nexa Book"/>
                      </a:defRPr>
                    </a:pPr>
                    <a:r>
                      <a:t>2073</a:t>
                    </a:r>
                  </a:p>
                </c:rich>
              </c:tx>
              <c:dLblPos val="ctr"/>
              <c:showLegendKey val="0"/>
              <c:showVal val="1"/>
              <c:showCatName val="0"/>
              <c:showSerName val="0"/>
              <c:showPercent val="0"/>
              <c:showBubbleSize val="0"/>
            </c:dLbl>
            <c:dLbl>
              <c:idx val="2"/>
              <c:tx>
                <c:rich>
                  <a:bodyPr/>
                  <a:lstStyle/>
                  <a:p>
                    <a:pPr>
                      <a:defRPr sz="800">
                        <a:latin typeface="Nexa Book"/>
                      </a:defRPr>
                    </a:pPr>
                    <a:r>
                      <a:t>629</a:t>
                    </a:r>
                  </a:p>
                </c:rich>
              </c:tx>
              <c:dLblPos val="ctr"/>
              <c:showLegendKey val="0"/>
              <c:showVal val="1"/>
              <c:showCatName val="0"/>
              <c:showSerName val="0"/>
              <c:showPercent val="0"/>
              <c:showBubbleSize val="0"/>
            </c:dLbl>
            <c:dLbl>
              <c:idx val="3"/>
              <c:tx>
                <c:rich>
                  <a:bodyPr/>
                  <a:lstStyle/>
                  <a:p>
                    <a:pPr>
                      <a:defRPr sz="800">
                        <a:latin typeface="Nexa Book"/>
                      </a:defRPr>
                    </a:pPr>
                    <a:r>
                      <a:t>535</a:t>
                    </a:r>
                  </a:p>
                </c:rich>
              </c:tx>
              <c:dLblPos val="ctr"/>
              <c:showLegendKey val="0"/>
              <c:showVal val="1"/>
              <c:showCatName val="0"/>
              <c:showSerName val="0"/>
              <c:showPercent val="0"/>
              <c:showBubbleSize val="0"/>
            </c:dLbl>
            <c:dLbl>
              <c:idx val="4"/>
              <c:tx>
                <c:rich>
                  <a:bodyPr/>
                  <a:lstStyle/>
                  <a:p>
                    <a:pPr>
                      <a:defRPr sz="800">
                        <a:latin typeface="Nexa Book"/>
                      </a:defRPr>
                    </a:pPr>
                    <a:r>
                      <a:t>310</a:t>
                    </a:r>
                  </a:p>
                </c:rich>
              </c:tx>
              <c:dLblPos val="ctr"/>
              <c:showLegendKey val="0"/>
              <c:showVal val="1"/>
              <c:showCatName val="0"/>
              <c:showSerName val="0"/>
              <c:showPercent val="0"/>
              <c:showBubbleSize val="0"/>
            </c:dLbl>
            <c:dLbl>
              <c:idx val="5"/>
              <c:tx>
                <c:rich>
                  <a:bodyPr/>
                  <a:lstStyle/>
                  <a:p>
                    <a:pPr>
                      <a:defRPr sz="800">
                        <a:latin typeface="Nexa Book"/>
                      </a:defRPr>
                    </a:pPr>
                    <a:r>
                      <a:t>152</a:t>
                    </a:r>
                  </a:p>
                </c:rich>
              </c:tx>
              <c:dLblPos val="ctr"/>
              <c:showLegendKey val="0"/>
              <c:showVal val="1"/>
              <c:showCatName val="0"/>
              <c:showSerName val="0"/>
              <c:showPercent val="0"/>
              <c:showBubbleSize val="0"/>
            </c:dLbl>
            <c:dLbl>
              <c:idx val="6"/>
              <c:tx>
                <c:rich>
                  <a:bodyPr/>
                  <a:lstStyle/>
                  <a:p>
                    <a:pPr>
                      <a:defRPr sz="800">
                        <a:latin typeface="Nexa Book"/>
                      </a:defRPr>
                    </a:pPr>
                    <a:r>
                      <a:t>11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380999232.0</c:v>
                </c:pt>
                <c:pt idx="1">
                  <c:v>207262231.0</c:v>
                </c:pt>
                <c:pt idx="2">
                  <c:v>62934152.0</c:v>
                </c:pt>
                <c:pt idx="3">
                  <c:v>53548944.0</c:v>
                </c:pt>
                <c:pt idx="4">
                  <c:v>31018165.0</c:v>
                </c:pt>
                <c:pt idx="5">
                  <c:v>15170335.0</c:v>
                </c:pt>
                <c:pt idx="6">
                  <c:v>1106540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8</a:t>
                    </a:r>
                  </a:p>
                </c:rich>
              </c:tx>
              <c:dLblPos val="ctr"/>
              <c:showLegendKey val="0"/>
              <c:showVal val="1"/>
              <c:showCatName val="0"/>
              <c:showSerName val="0"/>
              <c:showPercent val="0"/>
              <c:showBubbleSize val="0"/>
            </c:dLbl>
            <c:dLbl>
              <c:idx val="1"/>
              <c:tx>
                <c:rich>
                  <a:bodyPr/>
                  <a:lstStyle/>
                  <a:p>
                    <a:pPr>
                      <a:defRPr sz="800">
                        <a:latin typeface="Nexa Book"/>
                      </a:defRPr>
                    </a:pPr>
                    <a:r>
                      <a:t>5</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30</a:t>
                    </a:r>
                  </a:p>
                </c:rich>
              </c:tx>
              <c:dLblPos val="ctr"/>
              <c:showLegendKey val="0"/>
              <c:showVal val="1"/>
              <c:showCatName val="0"/>
              <c:showSerName val="0"/>
              <c:showPercent val="0"/>
              <c:showBubbleSize val="0"/>
            </c:dLbl>
            <c:dLbl>
              <c:idx val="4"/>
              <c:tx>
                <c:rich>
                  <a:bodyPr/>
                  <a:lstStyle/>
                  <a:p>
                    <a:pPr>
                      <a:defRPr sz="800">
                        <a:latin typeface="Nexa Book"/>
                      </a:defRPr>
                    </a:pPr>
                    <a:r>
                      <a:t>1</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r>
                      <a:t>0.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3849127.0</c:v>
                </c:pt>
                <c:pt idx="1">
                  <c:v>494814.0</c:v>
                </c:pt>
                <c:pt idx="2">
                  <c:v>52466.0</c:v>
                </c:pt>
                <c:pt idx="3">
                  <c:v>3047997.0</c:v>
                </c:pt>
                <c:pt idx="4">
                  <c:v>118407.0</c:v>
                </c:pt>
                <c:pt idx="5">
                  <c:v>88021.0</c:v>
                </c:pt>
                <c:pt idx="6">
                  <c:v>4742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0 %</a:t>
                    </a:r>
                  </a:p>
                </c:rich>
              </c:tx>
              <c:dLblPos val="ctr"/>
              <c:showLegendKey val="0"/>
              <c:showVal val="1"/>
              <c:showCatName val="0"/>
              <c:showSerName val="0"/>
              <c:showPercent val="0"/>
              <c:showBubbleSize val="0"/>
            </c:dLbl>
            <c:dLbl>
              <c:idx val="2"/>
              <c:tx>
                <c:rich>
                  <a:bodyPr/>
                  <a:lstStyle/>
                  <a:p>
                    <a:pPr>
                      <a:defRPr sz="800">
                        <a:latin typeface="Nexa Book"/>
                      </a:defRPr>
                    </a:pPr>
                    <a:r>
                      <a:t>2.0 %</a:t>
                    </a:r>
                  </a:p>
                </c:rich>
              </c:tx>
              <c:dLblPos val="ctr"/>
              <c:showLegendKey val="0"/>
              <c:showVal val="1"/>
              <c:showCatName val="0"/>
              <c:showSerName val="0"/>
              <c:showPercent val="0"/>
              <c:showBubbleSize val="0"/>
            </c:dLbl>
            <c:dLbl>
              <c:idx val="3"/>
              <c:tx>
                <c:rich>
                  <a:bodyPr/>
                  <a:lstStyle/>
                  <a:p>
                    <a:pPr>
                      <a:defRPr sz="800">
                        <a:latin typeface="Nexa Book"/>
                      </a:defRPr>
                    </a:pPr>
                    <a:r>
                      <a:t>-1.4 %</a:t>
                    </a:r>
                  </a:p>
                </c:rich>
              </c:tx>
              <c:dLblPos val="ctr"/>
              <c:showLegendKey val="0"/>
              <c:showVal val="1"/>
              <c:showCatName val="0"/>
              <c:showSerName val="0"/>
              <c:showPercent val="0"/>
              <c:showBubbleSize val="0"/>
            </c:dLbl>
            <c:dLbl>
              <c:idx val="4"/>
              <c:tx>
                <c:rich>
                  <a:bodyPr/>
                  <a:lstStyle/>
                  <a:p>
                    <a:pPr>
                      <a:defRPr sz="800">
                        <a:latin typeface="Nexa Book"/>
                      </a:defRPr>
                    </a:pPr>
                    <a:r>
                      <a:t>-0.4 %</a:t>
                    </a:r>
                  </a:p>
                </c:rich>
              </c:tx>
              <c:dLblPos val="ctr"/>
              <c:showLegendKey val="0"/>
              <c:showVal val="1"/>
              <c:showCatName val="0"/>
              <c:showSerName val="0"/>
              <c:showPercent val="0"/>
              <c:showBubbleSize val="0"/>
            </c:dLbl>
            <c:dLbl>
              <c:idx val="5"/>
              <c:tx>
                <c:rich>
                  <a:bodyPr/>
                  <a:lstStyle/>
                  <a:p>
                    <a:pPr>
                      <a:defRPr sz="800">
                        <a:latin typeface="Nexa Book"/>
                      </a:defRPr>
                    </a:pPr>
                    <a:r>
                      <a:t>0.8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009782404912155207</c:v>
                </c:pt>
                <c:pt idx="2">
                  <c:v>0.020188880217092836</c:v>
                </c:pt>
                <c:pt idx="3">
                  <c:v>-0.013906405392615506</c:v>
                </c:pt>
                <c:pt idx="4">
                  <c:v>-0.004047134616590481</c:v>
                </c:pt>
                <c:pt idx="5">
                  <c:v>0.008190012355763249</c:v>
                </c:pt>
                <c:pt idx="6">
                  <c:v>-0.000642947651494897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2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13.9 %</a:t>
                    </a:r>
                  </a:p>
                </c:rich>
              </c:tx>
              <c:dLblPos val="ctr"/>
              <c:showLegendKey val="0"/>
              <c:showVal val="1"/>
              <c:showCatName val="0"/>
              <c:showSerName val="0"/>
              <c:showPercent val="0"/>
              <c:showBubbleSize val="0"/>
            </c:dLbl>
            <c:dLbl>
              <c:idx val="4"/>
              <c:tx>
                <c:rich>
                  <a:bodyPr/>
                  <a:lstStyle/>
                  <a:p>
                    <a:pPr>
                      <a:defRPr sz="800">
                        <a:latin typeface="Nexa Book"/>
                      </a:defRPr>
                    </a:pPr>
                    <a:r>
                      <a:t>-1.9 %</a:t>
                    </a:r>
                  </a:p>
                </c:rich>
              </c:tx>
              <c:dLblPos val="ctr"/>
              <c:showLegendKey val="0"/>
              <c:showVal val="1"/>
              <c:showCatName val="0"/>
              <c:showSerName val="0"/>
              <c:showPercent val="0"/>
              <c:showBubbleSize val="0"/>
            </c:dLbl>
            <c:dLbl>
              <c:idx val="5"/>
              <c:tx>
                <c:rich>
                  <a:bodyPr/>
                  <a:lstStyle/>
                  <a:p>
                    <a:pPr>
                      <a:defRPr sz="800">
                        <a:latin typeface="Nexa Book"/>
                      </a:defRPr>
                    </a:pPr>
                    <a:r>
                      <a:t>1.6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13224931893060587</c:v>
                </c:pt>
                <c:pt idx="2">
                  <c:v>0.002706055647028676</c:v>
                </c:pt>
                <c:pt idx="3">
                  <c:v>0.13934601676181146</c:v>
                </c:pt>
                <c:pt idx="4">
                  <c:v>-0.018982705580074505</c:v>
                </c:pt>
                <c:pt idx="5">
                  <c:v>0.015568843221634448</c:v>
                </c:pt>
                <c:pt idx="6">
                  <c:v>-0.00638889111979425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46215138914483</c:v>
                </c:pt>
                <c:pt idx="1">
                  <c:v>0.09210084723874165</c:v>
                </c:pt>
                <c:pt idx="2">
                  <c:v>-0.0574844677663852</c:v>
                </c:pt>
                <c:pt idx="3">
                  <c:v>5.134419091823951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2 %</a:t>
                    </a:r>
                  </a:p>
                </c:rich>
              </c:tx>
              <c:dLblPos val="ctr"/>
              <c:showLegendKey val="0"/>
              <c:showVal val="1"/>
              <c:showCatName val="0"/>
              <c:showSerName val="0"/>
              <c:showPercent val="0"/>
              <c:showBubbleSize val="0"/>
            </c:dLbl>
            <c:dLbl>
              <c:idx val="2"/>
              <c:tx>
                <c:rich>
                  <a:bodyPr/>
                  <a:lstStyle/>
                  <a:p>
                    <a:pPr>
                      <a:defRPr sz="800">
                        <a:latin typeface="Nexa Book"/>
                      </a:defRPr>
                    </a:pPr>
                    <a:r>
                      <a:t>15.9 %</a:t>
                    </a:r>
                  </a:p>
                </c:rich>
              </c:tx>
              <c:dLblPos val="ctr"/>
              <c:showLegendKey val="0"/>
              <c:showVal val="1"/>
              <c:showCatName val="0"/>
              <c:showSerName val="0"/>
              <c:showPercent val="0"/>
              <c:showBubbleSize val="0"/>
            </c:dLbl>
            <c:dLbl>
              <c:idx val="3"/>
              <c:tx>
                <c:rich>
                  <a:bodyPr/>
                  <a:lstStyle/>
                  <a:p>
                    <a:pPr>
                      <a:defRPr sz="800">
                        <a:latin typeface="Nexa Book"/>
                      </a:defRPr>
                    </a:pPr>
                    <a:r>
                      <a:t>12.4 %</a:t>
                    </a:r>
                  </a:p>
                </c:rich>
              </c:tx>
              <c:dLblPos val="ctr"/>
              <c:showLegendKey val="0"/>
              <c:showVal val="1"/>
              <c:showCatName val="0"/>
              <c:showSerName val="0"/>
              <c:showPercent val="0"/>
              <c:showBubbleSize val="0"/>
            </c:dLbl>
            <c:dLbl>
              <c:idx val="4"/>
              <c:tx>
                <c:rich>
                  <a:bodyPr/>
                  <a:lstStyle/>
                  <a:p>
                    <a:pPr>
                      <a:defRPr sz="800">
                        <a:latin typeface="Nexa Book"/>
                      </a:defRPr>
                    </a:pPr>
                    <a:r>
                      <a:t>8.8 %</a:t>
                    </a:r>
                  </a:p>
                </c:rich>
              </c:tx>
              <c:dLblPos val="ctr"/>
              <c:showLegendKey val="0"/>
              <c:showVal val="1"/>
              <c:showCatName val="0"/>
              <c:showSerName val="0"/>
              <c:showPercent val="0"/>
              <c:showBubbleSize val="0"/>
            </c:dLbl>
            <c:dLbl>
              <c:idx val="5"/>
              <c:tx>
                <c:rich>
                  <a:bodyPr/>
                  <a:lstStyle/>
                  <a:p>
                    <a:pPr>
                      <a:defRPr sz="800">
                        <a:latin typeface="Nexa Book"/>
                      </a:defRPr>
                    </a:pPr>
                    <a:r>
                      <a:t>4.3 %</a:t>
                    </a:r>
                  </a:p>
                </c:rich>
              </c:tx>
              <c:dLblPos val="ctr"/>
              <c:showLegendKey val="0"/>
              <c:showVal val="1"/>
              <c:showCatName val="0"/>
              <c:showSerName val="0"/>
              <c:showPercent val="0"/>
              <c:showBubbleSize val="0"/>
            </c:dLbl>
            <c:dLbl>
              <c:idx val="6"/>
              <c:tx>
                <c:rich>
                  <a:bodyPr/>
                  <a:lstStyle/>
                  <a:p>
                    <a:pPr>
                      <a:defRPr sz="800">
                        <a:latin typeface="Nexa Book"/>
                      </a:defRPr>
                    </a:pPr>
                    <a:r>
                      <a:t>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5523696605630734</c:v>
                </c:pt>
                <c:pt idx="2">
                  <c:v>0.15909649758105643</c:v>
                </c:pt>
                <c:pt idx="3">
                  <c:v>0.12443035813642755</c:v>
                </c:pt>
                <c:pt idx="4">
                  <c:v>0.08828915758870423</c:v>
                </c:pt>
                <c:pt idx="5">
                  <c:v>0.04268654527492872</c:v>
                </c:pt>
                <c:pt idx="6">
                  <c:v>0.0331277808558097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3.4 %</a:t>
                    </a:r>
                  </a:p>
                </c:rich>
              </c:tx>
              <c:dLblPos val="ctr"/>
              <c:showLegendKey val="0"/>
              <c:showVal val="1"/>
              <c:showCatName val="0"/>
              <c:showSerName val="0"/>
              <c:showPercent val="0"/>
              <c:showBubbleSize val="0"/>
            </c:dLbl>
            <c:dLbl>
              <c:idx val="2"/>
              <c:tx>
                <c:rich>
                  <a:bodyPr/>
                  <a:lstStyle/>
                  <a:p>
                    <a:pPr>
                      <a:defRPr sz="800">
                        <a:latin typeface="Nexa Book"/>
                      </a:defRPr>
                    </a:pPr>
                    <a:r>
                      <a:t>21.5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r>
                      <a:t>10.4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4.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6336331166107348</c:v>
                </c:pt>
                <c:pt idx="2">
                  <c:v>0.21500518534252713</c:v>
                </c:pt>
                <c:pt idx="3">
                  <c:v>0.0</c:v>
                </c:pt>
                <c:pt idx="4">
                  <c:v>0.10396502234541051</c:v>
                </c:pt>
                <c:pt idx="5">
                  <c:v>0.004684739125587844</c:v>
                </c:pt>
                <c:pt idx="6">
                  <c:v>0.0427044721490068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232</a:t>
                    </a:r>
                  </a:p>
                </c:rich>
              </c:tx>
              <c:dLblPos val="ctr"/>
              <c:showLegendKey val="0"/>
              <c:showVal val="1"/>
              <c:showCatName val="0"/>
              <c:showSerName val="0"/>
              <c:showPercent val="0"/>
              <c:showBubbleSize val="0"/>
            </c:dLbl>
            <c:dLbl>
              <c:idx val="1"/>
              <c:tx>
                <c:rich>
                  <a:bodyPr/>
                  <a:lstStyle/>
                  <a:p>
                    <a:pPr>
                      <a:defRPr sz="800">
                        <a:latin typeface="Nexa Book"/>
                      </a:defRPr>
                    </a:pPr>
                    <a:r>
                      <a:t>681</a:t>
                    </a:r>
                  </a:p>
                </c:rich>
              </c:tx>
              <c:dLblPos val="ctr"/>
              <c:showLegendKey val="0"/>
              <c:showVal val="1"/>
              <c:showCatName val="0"/>
              <c:showSerName val="0"/>
              <c:showPercent val="0"/>
              <c:showBubbleSize val="0"/>
            </c:dLbl>
            <c:dLbl>
              <c:idx val="2"/>
              <c:tx>
                <c:rich>
                  <a:bodyPr/>
                  <a:lstStyle/>
                  <a:p>
                    <a:pPr>
                      <a:defRPr sz="800">
                        <a:latin typeface="Nexa Book"/>
                      </a:defRPr>
                    </a:pPr>
                    <a:r>
                      <a:t>196</a:t>
                    </a:r>
                  </a:p>
                </c:rich>
              </c:tx>
              <c:dLblPos val="ctr"/>
              <c:showLegendKey val="0"/>
              <c:showVal val="1"/>
              <c:showCatName val="0"/>
              <c:showSerName val="0"/>
              <c:showPercent val="0"/>
              <c:showBubbleSize val="0"/>
            </c:dLbl>
            <c:dLbl>
              <c:idx val="3"/>
              <c:tx>
                <c:rich>
                  <a:bodyPr/>
                  <a:lstStyle/>
                  <a:p>
                    <a:pPr>
                      <a:defRPr sz="800">
                        <a:latin typeface="Nexa Book"/>
                      </a:defRPr>
                    </a:pPr>
                    <a:r>
                      <a:t>153</a:t>
                    </a:r>
                  </a:p>
                </c:rich>
              </c:tx>
              <c:dLblPos val="ctr"/>
              <c:showLegendKey val="0"/>
              <c:showVal val="1"/>
              <c:showCatName val="0"/>
              <c:showSerName val="0"/>
              <c:showPercent val="0"/>
              <c:showBubbleSize val="0"/>
            </c:dLbl>
            <c:dLbl>
              <c:idx val="4"/>
              <c:tx>
                <c:rich>
                  <a:bodyPr/>
                  <a:lstStyle/>
                  <a:p>
                    <a:pPr>
                      <a:defRPr sz="800">
                        <a:latin typeface="Nexa Book"/>
                      </a:defRPr>
                    </a:pPr>
                    <a:r>
                      <a:t>109</a:t>
                    </a:r>
                  </a:p>
                </c:rich>
              </c:tx>
              <c:dLblPos val="ctr"/>
              <c:showLegendKey val="0"/>
              <c:showVal val="1"/>
              <c:showCatName val="0"/>
              <c:showSerName val="0"/>
              <c:showPercent val="0"/>
              <c:showBubbleSize val="0"/>
            </c:dLbl>
            <c:dLbl>
              <c:idx val="5"/>
              <c:tx>
                <c:rich>
                  <a:bodyPr/>
                  <a:lstStyle/>
                  <a:p>
                    <a:pPr>
                      <a:defRPr sz="800">
                        <a:latin typeface="Nexa Book"/>
                      </a:defRPr>
                    </a:pPr>
                    <a:r>
                      <a:t>53</a:t>
                    </a:r>
                  </a:p>
                </c:rich>
              </c:tx>
              <c:dLblPos val="ctr"/>
              <c:showLegendKey val="0"/>
              <c:showVal val="1"/>
              <c:showCatName val="0"/>
              <c:showSerName val="0"/>
              <c:showPercent val="0"/>
              <c:showBubbleSize val="0"/>
            </c:dLbl>
            <c:dLbl>
              <c:idx val="6"/>
              <c:tx>
                <c:rich>
                  <a:bodyPr/>
                  <a:lstStyle/>
                  <a:p>
                    <a:pPr>
                      <a:defRPr sz="800">
                        <a:latin typeface="Nexa Book"/>
                      </a:defRPr>
                    </a:pPr>
                    <a:r>
                      <a:t>4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23211845.0</c:v>
                </c:pt>
                <c:pt idx="1">
                  <c:v>68058485.0</c:v>
                </c:pt>
                <c:pt idx="2">
                  <c:v>19602573.0</c:v>
                </c:pt>
                <c:pt idx="3">
                  <c:v>15331294.0</c:v>
                </c:pt>
                <c:pt idx="4">
                  <c:v>10878270.0</c:v>
                </c:pt>
                <c:pt idx="5">
                  <c:v>5259488.0</c:v>
                </c:pt>
                <c:pt idx="6">
                  <c:v>408173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2</a:t>
                    </a:r>
                  </a:p>
                </c:rich>
              </c:tx>
              <c:dLblPos val="ctr"/>
              <c:showLegendKey val="0"/>
              <c:showVal val="1"/>
              <c:showCatName val="0"/>
              <c:showSerName val="0"/>
              <c:showPercent val="0"/>
              <c:showBubbleSize val="0"/>
            </c:dLbl>
            <c:dLbl>
              <c:idx val="1"/>
              <c:tx>
                <c:rich>
                  <a:bodyPr/>
                  <a:lstStyle/>
                  <a:p>
                    <a:pPr>
                      <a:defRPr sz="800">
                        <a:latin typeface="Nexa Book"/>
                      </a:defRPr>
                    </a:pPr>
                    <a:r>
                      <a:t>39</a:t>
                    </a:r>
                  </a:p>
                </c:rich>
              </c:tx>
              <c:dLblPos val="ctr"/>
              <c:showLegendKey val="0"/>
              <c:showVal val="1"/>
              <c:showCatName val="0"/>
              <c:showSerName val="0"/>
              <c:showPercent val="0"/>
              <c:showBubbleSize val="0"/>
            </c:dLbl>
            <c:dLbl>
              <c:idx val="2"/>
              <c:tx>
                <c:rich>
                  <a:bodyPr/>
                  <a:lstStyle/>
                  <a:p>
                    <a:pPr>
                      <a:defRPr sz="800">
                        <a:latin typeface="Nexa Book"/>
                      </a:defRPr>
                    </a:pPr>
                    <a:r>
                      <a:t>13</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6</a:t>
                    </a:r>
                  </a:p>
                </c:rich>
              </c:tx>
              <c:dLblPos val="ctr"/>
              <c:showLegendKey val="0"/>
              <c:showVal val="1"/>
              <c:showCatName val="0"/>
              <c:showSerName val="0"/>
              <c:showPercent val="0"/>
              <c:showBubbleSize val="0"/>
            </c:dLbl>
            <c:dLbl>
              <c:idx val="5"/>
              <c:tx>
                <c:rich>
                  <a:bodyPr/>
                  <a:lstStyle/>
                  <a:p>
                    <a:pPr>
                      <a:defRPr sz="800">
                        <a:latin typeface="Nexa Book"/>
                      </a:defRPr>
                    </a:pPr>
                    <a:r>
                      <a:t>0.3</a:t>
                    </a:r>
                  </a:p>
                </c:rich>
              </c:tx>
              <c:dLblPos val="ctr"/>
              <c:showLegendKey val="0"/>
              <c:showVal val="1"/>
              <c:showCatName val="0"/>
              <c:showSerName val="0"/>
              <c:showPercent val="0"/>
              <c:showBubbleSize val="0"/>
            </c:dLbl>
            <c:dLbl>
              <c:idx val="6"/>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6162563.0</c:v>
                </c:pt>
                <c:pt idx="1">
                  <c:v>3904804.0</c:v>
                </c:pt>
                <c:pt idx="2">
                  <c:v>1324983.0</c:v>
                </c:pt>
                <c:pt idx="3">
                  <c:v>46.0</c:v>
                </c:pt>
                <c:pt idx="4">
                  <c:v>640691.0</c:v>
                </c:pt>
                <c:pt idx="5">
                  <c:v>28870.0</c:v>
                </c:pt>
                <c:pt idx="6">
                  <c:v>26316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8 %</a:t>
                    </a:r>
                  </a:p>
                </c:rich>
              </c:tx>
              <c:dLblPos val="ctr"/>
              <c:showLegendKey val="0"/>
              <c:showVal val="1"/>
              <c:showCatName val="0"/>
              <c:showSerName val="0"/>
              <c:showPercent val="0"/>
              <c:showBubbleSize val="0"/>
            </c:dLbl>
            <c:dLbl>
              <c:idx val="3"/>
              <c:tx>
                <c:rich>
                  <a:bodyPr/>
                  <a:lstStyle/>
                  <a:p>
                    <a:pPr>
                      <a:defRPr sz="800">
                        <a:latin typeface="Nexa Book"/>
                      </a:defRPr>
                    </a:pPr>
                    <a:r>
                      <a:t>1.7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22063139434182477</c:v>
                </c:pt>
                <c:pt idx="2">
                  <c:v>0.007824869042437066</c:v>
                </c:pt>
                <c:pt idx="3">
                  <c:v>0.01709528889289992</c:v>
                </c:pt>
                <c:pt idx="4">
                  <c:v>-0.007314622147211264</c:v>
                </c:pt>
                <c:pt idx="5">
                  <c:v>0.006694019744064007</c:v>
                </c:pt>
                <c:pt idx="6">
                  <c:v>-0.00223641609800720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8 %</a:t>
                    </a:r>
                  </a:p>
                </c:rich>
              </c:tx>
              <c:dLblPos val="ctr"/>
              <c:showLegendKey val="0"/>
              <c:showVal val="1"/>
              <c:showCatName val="0"/>
              <c:showSerName val="0"/>
              <c:showPercent val="0"/>
              <c:showBubbleSize val="0"/>
            </c:dLbl>
            <c:dLbl>
              <c:idx val="2"/>
              <c:tx>
                <c:rich>
                  <a:bodyPr/>
                  <a:lstStyle/>
                  <a:p>
                    <a:pPr>
                      <a:defRPr sz="800">
                        <a:latin typeface="Nexa Book"/>
                      </a:defRPr>
                    </a:pPr>
                    <a:r>
                      <a:t>-17.2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r>
                      <a:t>1.7 %</a:t>
                    </a:r>
                  </a:p>
                </c:rich>
              </c:tx>
              <c:dLblPos val="ctr"/>
              <c:showLegendKey val="0"/>
              <c:showVal val="1"/>
              <c:showCatName val="0"/>
              <c:showSerName val="0"/>
              <c:showPercent val="0"/>
              <c:showBubbleSize val="0"/>
            </c:dLbl>
            <c:dLbl>
              <c:idx val="5"/>
              <c:tx>
                <c:rich>
                  <a:bodyPr/>
                  <a:lstStyle/>
                  <a:p>
                    <a:pPr>
                      <a:defRPr sz="800">
                        <a:latin typeface="Nexa Book"/>
                      </a:defRPr>
                    </a:pPr>
                    <a:r>
                      <a:t>-0.0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14849466558112023</c:v>
                </c:pt>
                <c:pt idx="2">
                  <c:v>-0.17192503979515975</c:v>
                </c:pt>
                <c:pt idx="3">
                  <c:v>0.0</c:v>
                </c:pt>
                <c:pt idx="4">
                  <c:v>0.017469112774980713</c:v>
                </c:pt>
                <c:pt idx="5">
                  <c:v>-0.00042636556893440106</c:v>
                </c:pt>
                <c:pt idx="6">
                  <c:v>0.00638512085447461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0E7DFD48-D8E3-4D19-8967-BA2A6A4BA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9150E5FA-9A1F-4F53-A922-F3A7BAC34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BAA0C4D6-848E-421B-8AD6-EED5E7F48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ABEF2224-04CE-4D4A-B48B-2983ECB8D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284A1117-D99D-469C-8213-E060AF270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E948EE99-74A1-4F3A-82AA-87A66BF95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78D8F820-9FA5-4561-97DB-9D396EDF9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D7F10E1-FD29-438C-9615-594863055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7E73F13-5BF4-4CD1-B01B-F8316ED88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24971B6-1DCD-4B05-AB9C-44DF011C6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D3097B2-3E23-41ED-B9C2-5CF540B62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AE844DB2-7F20-4583-B66F-1B65D3FC8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A119713C-7C45-4A56-96E3-520E0259A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C8075557-D017-4E8C-82CE-2F0540E9F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3C6BAAA2-431B-4654-B505-5B74932C9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32A29F27-8B6A-469A-8572-7A7D37E09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75885981-570F-4DB4-8520-A5CE7E4B2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A9E0183E-FE4E-4FDE-A8CE-1D06C65B4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FBCE0C25-04C3-402A-BF64-A4C056861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6EF3B4AF-38F8-4939-B97B-AADC0915C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A918F62C-F42B-4BB2-ABC4-A74BF64CE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E63EF423-138A-4BE1-B8F2-E3BCF7759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E7054DB0-BC06-472F-BC6B-E503D1776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73E97F9-4B37-4C44-914E-A44F136CE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816FBE8-8A21-4690-9FC0-F5EA6E4C8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BE6878BE-06E6-49D1-B8A2-10B655468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427C99B-AFED-4011-BC68-7FD34152C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FE03C951-D0C1-41BC-BE52-1EDDC343C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E3E82C46-8E5A-4A83-BB11-2ED822E3F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C9117E5-7462-45F7-8247-944D1826D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FD36126D-6E5B-4DDA-A28A-C9D067E8D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7A9DB2F0-F754-4901-B5B5-4F196BFCB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27170793605793275</c:v>
                </c:pt>
                <c:pt idx="1">
                  <c:v>-0.014873430855655623</c:v>
                </c:pt>
                <c:pt idx="2">
                  <c:v>0.011174974771041457</c:v>
                </c:pt>
                <c:pt idx="3">
                  <c:v>-0.01246924722349381</c:v>
                </c:pt>
                <c:pt idx="4">
                  <c:v>0.004777564314663765</c:v>
                </c:pt>
                <c:pt idx="5">
                  <c:v>-0.013348073757842749</c:v>
                </c:pt>
                <c:pt idx="6">
                  <c:v>-3.316693465500731e-05</c:v>
                </c:pt>
                <c:pt idx="7">
                  <c:v>-0.007535038632698596</c:v>
                </c:pt>
                <c:pt idx="8">
                  <c:v>-0.00689636892028795</c:v>
                </c:pt>
                <c:pt idx="9">
                  <c:v>0.02264892340405572</c:v>
                </c:pt>
                <c:pt idx="10">
                  <c:v>0.0012089859042298395</c:v>
                </c:pt>
                <c:pt idx="11">
                  <c:v>-0.03765313194083825</c:v>
                </c:pt>
                <c:pt idx="12">
                  <c:v>-0.005773196659390412</c:v>
                </c:pt>
                <c:pt idx="13">
                  <c:v>-0.014817080474888417</c:v>
                </c:pt>
                <c:pt idx="14">
                  <c:v>0.004595652276882051</c:v>
                </c:pt>
                <c:pt idx="15">
                  <c:v>-0.009605144969188573</c:v>
                </c:pt>
                <c:pt idx="16">
                  <c:v>0.01828005774630359</c:v>
                </c:pt>
                <c:pt idx="17">
                  <c:v>-0.011988348564057213</c:v>
                </c:pt>
                <c:pt idx="18">
                  <c:v>-0.009059743000652015</c:v>
                </c:pt>
                <c:pt idx="19">
                  <c:v>0.00806830781042639</c:v>
                </c:pt>
                <c:pt idx="20">
                  <c:v>0.035179373623657</c:v>
                </c:pt>
                <c:pt idx="21">
                  <c:v>0.041664870670006834</c:v>
                </c:pt>
                <c:pt idx="22">
                  <c:v>-0.00937695889666166</c:v>
                </c:pt>
                <c:pt idx="23">
                  <c:v>-0.0009991206560371127</c:v>
                </c:pt>
                <c:pt idx="24">
                  <c:v>-0.017146198668403737</c:v>
                </c:pt>
                <c:pt idx="25">
                  <c:v>-0.013701595392511035</c:v>
                </c:pt>
                <c:pt idx="26">
                  <c:v>-0.004921106157989449</c:v>
                </c:pt>
                <c:pt idx="27">
                  <c:v>-0.0018010388570952468</c:v>
                </c:pt>
                <c:pt idx="28">
                  <c:v>-0.0028496679065221145</c:v>
                </c:pt>
                <c:pt idx="29">
                  <c:v>0.0032432861611029137</c:v>
                </c:pt>
              </c:numCache>
            </c:numRef>
          </c:xVal>
          <c:yVal>
            <c:numRef>
              <c:f>Sheet1!$B$2:$B$31</c:f>
              <c:numCache>
                <c:formatCode>General</c:formatCode>
                <c:ptCount val="30"/>
                <c:pt idx="0">
                  <c:v>0.04201614876398274</c:v>
                </c:pt>
                <c:pt idx="1">
                  <c:v>-0.007705101402776027</c:v>
                </c:pt>
                <c:pt idx="2">
                  <c:v>0.026299932389234892</c:v>
                </c:pt>
                <c:pt idx="3">
                  <c:v>-0.013623398113252902</c:v>
                </c:pt>
                <c:pt idx="4">
                  <c:v>0.004002166949824151</c:v>
                </c:pt>
                <c:pt idx="5">
                  <c:v>-0.022137997540783702</c:v>
                </c:pt>
                <c:pt idx="6">
                  <c:v>-0.00345585808804616</c:v>
                </c:pt>
                <c:pt idx="7">
                  <c:v>-0.007038483979671328</c:v>
                </c:pt>
                <c:pt idx="8">
                  <c:v>-0.003085342772490146</c:v>
                </c:pt>
                <c:pt idx="9">
                  <c:v>0.04481957512107693</c:v>
                </c:pt>
                <c:pt idx="10">
                  <c:v>0.0026183152805326557</c:v>
                </c:pt>
                <c:pt idx="11">
                  <c:v>-0.08445652933035624</c:v>
                </c:pt>
                <c:pt idx="12">
                  <c:v>0.024268823618361024</c:v>
                </c:pt>
                <c:pt idx="13">
                  <c:v>-0.019538382545110006</c:v>
                </c:pt>
                <c:pt idx="14">
                  <c:v>0.0020325063286601303</c:v>
                </c:pt>
                <c:pt idx="15">
                  <c:v>-0.004344303541000766</c:v>
                </c:pt>
                <c:pt idx="16">
                  <c:v>0.03427827721930632</c:v>
                </c:pt>
                <c:pt idx="17">
                  <c:v>-0.015071317585793026</c:v>
                </c:pt>
                <c:pt idx="18">
                  <c:v>0.01314169610267863</c:v>
                </c:pt>
                <c:pt idx="19">
                  <c:v>0.004485147384838614</c:v>
                </c:pt>
                <c:pt idx="20">
                  <c:v>0.011911597482583365</c:v>
                </c:pt>
                <c:pt idx="21">
                  <c:v>0.04365878076014196</c:v>
                </c:pt>
                <c:pt idx="22">
                  <c:v>-0.01440272413071593</c:v>
                </c:pt>
                <c:pt idx="23">
                  <c:v>-0.002767576380567167</c:v>
                </c:pt>
                <c:pt idx="24">
                  <c:v>-0.01607739040226648</c:v>
                </c:pt>
                <c:pt idx="25">
                  <c:v>-0.027208795131776806</c:v>
                </c:pt>
                <c:pt idx="26">
                  <c:v>-0.004655597111230578</c:v>
                </c:pt>
                <c:pt idx="27">
                  <c:v>-0.030474524165911634</c:v>
                </c:pt>
                <c:pt idx="28">
                  <c:v>-0.004513457141710087</c:v>
                </c:pt>
                <c:pt idx="29">
                  <c:v>0.006023229518675788</c:v>
                </c:pt>
              </c:numCache>
            </c:numRef>
          </c:yVal>
          <c:bubbleSize>
            <c:numRef>
              <c:f>Sheet1!$C$2:$C$31</c:f>
              <c:numCache>
                <c:formatCode>General</c:formatCode>
                <c:ptCount val="30"/>
                <c:pt idx="0">
                  <c:v>112293550.0</c:v>
                </c:pt>
                <c:pt idx="1">
                  <c:v>51572618.0</c:v>
                </c:pt>
                <c:pt idx="2">
                  <c:v>44923375.0</c:v>
                </c:pt>
                <c:pt idx="3">
                  <c:v>35755979.0</c:v>
                </c:pt>
                <c:pt idx="4">
                  <c:v>34927633.0</c:v>
                </c:pt>
                <c:pt idx="5">
                  <c:v>24449449.0</c:v>
                </c:pt>
                <c:pt idx="6">
                  <c:v>23908147.0</c:v>
                </c:pt>
                <c:pt idx="7">
                  <c:v>23070996.0</c:v>
                </c:pt>
                <c:pt idx="8">
                  <c:v>17869370.0</c:v>
                </c:pt>
                <c:pt idx="9">
                  <c:v>17690021.0</c:v>
                </c:pt>
                <c:pt idx="10">
                  <c:v>12561969.0</c:v>
                </c:pt>
                <c:pt idx="11">
                  <c:v>9128508.0</c:v>
                </c:pt>
                <c:pt idx="12">
                  <c:v>8359326.0</c:v>
                </c:pt>
                <c:pt idx="13">
                  <c:v>8020859.0</c:v>
                </c:pt>
                <c:pt idx="14">
                  <c:v>7828707.0</c:v>
                </c:pt>
                <c:pt idx="15">
                  <c:v>7732358.0</c:v>
                </c:pt>
                <c:pt idx="16">
                  <c:v>6099847.0</c:v>
                </c:pt>
                <c:pt idx="17">
                  <c:v>5819983.0</c:v>
                </c:pt>
                <c:pt idx="18">
                  <c:v>5613289.0</c:v>
                </c:pt>
                <c:pt idx="19">
                  <c:v>5576881.0</c:v>
                </c:pt>
                <c:pt idx="20">
                  <c:v>5319741.0</c:v>
                </c:pt>
                <c:pt idx="21">
                  <c:v>5099235.0</c:v>
                </c:pt>
                <c:pt idx="22">
                  <c:v>4785655.0</c:v>
                </c:pt>
                <c:pt idx="23">
                  <c:v>4399627.0</c:v>
                </c:pt>
                <c:pt idx="24">
                  <c:v>4372980.0</c:v>
                </c:pt>
                <c:pt idx="25">
                  <c:v>3633781.0</c:v>
                </c:pt>
                <c:pt idx="26">
                  <c:v>3311588.0</c:v>
                </c:pt>
                <c:pt idx="27">
                  <c:v>2997516.0</c:v>
                </c:pt>
                <c:pt idx="28">
                  <c:v>2499695.0</c:v>
                </c:pt>
                <c:pt idx="29">
                  <c:v>236414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700019414785393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5611622726902042"/>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83E848DD-18FD-4E3D-855D-17606CA72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FD878D1D-DA0D-488A-B10A-FD54E8AEC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C580E456-2924-46AD-8FFC-28E8C2C15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9548D657-3BAB-49BD-AD4B-528FC4979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F744577C-2D97-4FBC-ABD8-7391AD7F1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4F7C92C-C4A4-47E9-9A53-766B355AA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AC782697-EDDF-4940-88F1-B417BBA30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E8A27263-3F02-4EB8-886C-5730D6677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CD6E9D01-29AD-408D-9DDB-0AA3EDE01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99B8866-D722-40AB-9139-8959FE6F6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4285604A-0CDB-40C7-89E8-39C1C4A87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AC0642A-9DEF-49ED-A489-2CEC72FA5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256AB67E-ADFA-4546-8211-013904B79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4C5D1D95-894D-4ADE-89B3-0F2791BF8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BB196A2D-8888-4D46-B04F-D1C6CB1FE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1FB3E0E8-CDF4-4A8F-95AD-C02085057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FD23E70A-C2BE-4533-9E9B-DDC123C9E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B372681A-4D5A-4C1B-B56F-163EE1E03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2B79D9D-193D-4261-8F96-F6436DCED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97DBAC3D-56C0-4EFA-8712-3B5D70AF1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F1339C2B-6457-4B84-B22D-8FF959278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D3F23627-ADC6-486F-B77D-75B3F19B9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6903AB16-921A-47DB-A0FB-376B253F6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EA735291-181C-4375-8B38-244C81B78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59C13442-B588-4D87-83A7-9A96E6997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B34E2B61-FF2D-4649-B422-D7E610705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C8214723-2B27-47BA-932F-C62B37B3E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DA2C16AE-205B-42D9-B1BE-0F96F3128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E060FD03-CFA2-4FC4-BD2B-2BCD76E8A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4F884420-9AC8-4CAA-9E32-F4BE0D71A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A43AEE87-EF5E-43C4-AB5B-396D91D31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73E0FFCA-D2E0-4698-9397-F2A186E30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19549562917072105</c:v>
                </c:pt>
                <c:pt idx="1">
                  <c:v>-0.017821662080829914</c:v>
                </c:pt>
                <c:pt idx="2">
                  <c:v>0.012263764606629729</c:v>
                </c:pt>
                <c:pt idx="3">
                  <c:v>0.06057294964546933</c:v>
                </c:pt>
                <c:pt idx="4">
                  <c:v>0.004309869062237473</c:v>
                </c:pt>
                <c:pt idx="5">
                  <c:v>0.039619375050823746</c:v>
                </c:pt>
                <c:pt idx="6">
                  <c:v>0.017895092256022538</c:v>
                </c:pt>
                <c:pt idx="7">
                  <c:v>-0.0200171161525301</c:v>
                </c:pt>
                <c:pt idx="8">
                  <c:v>0.013065747599884603</c:v>
                </c:pt>
                <c:pt idx="9">
                  <c:v>-0.05863991584660275</c:v>
                </c:pt>
                <c:pt idx="10">
                  <c:v>-0.0015104172123083098</c:v>
                </c:pt>
                <c:pt idx="11">
                  <c:v>-0.060090856457951564</c:v>
                </c:pt>
                <c:pt idx="12">
                  <c:v>0.01694885074379171</c:v>
                </c:pt>
                <c:pt idx="13">
                  <c:v>-0.001201526940403097</c:v>
                </c:pt>
                <c:pt idx="14">
                  <c:v>0.04359654083818254</c:v>
                </c:pt>
                <c:pt idx="15">
                  <c:v>-0.012573794150707734</c:v>
                </c:pt>
                <c:pt idx="16">
                  <c:v>0.005555125412245107</c:v>
                </c:pt>
                <c:pt idx="17">
                  <c:v>-0.006908932705672333</c:v>
                </c:pt>
                <c:pt idx="18">
                  <c:v>-0.004263002123108484</c:v>
                </c:pt>
                <c:pt idx="19">
                  <c:v>0.00043007496861732775</c:v>
                </c:pt>
                <c:pt idx="20">
                  <c:v>-0.007690041196355746</c:v>
                </c:pt>
                <c:pt idx="21">
                  <c:v>0.0040142288720653434</c:v>
                </c:pt>
                <c:pt idx="22">
                  <c:v>-0.0037627179942533867</c:v>
                </c:pt>
                <c:pt idx="23">
                  <c:v>0.016900734746927396</c:v>
                </c:pt>
                <c:pt idx="24">
                  <c:v>0.0023329238709992733</c:v>
                </c:pt>
                <c:pt idx="25">
                  <c:v>-0.0003985946422418035</c:v>
                </c:pt>
                <c:pt idx="26">
                  <c:v>-0.002595934583006408</c:v>
                </c:pt>
                <c:pt idx="27">
                  <c:v>-0.0021910151071465427</c:v>
                </c:pt>
                <c:pt idx="28">
                  <c:v>0.0013038243689930396</c:v>
                </c:pt>
                <c:pt idx="29">
                  <c:v>0.007757250533517163</c:v>
                </c:pt>
              </c:numCache>
            </c:numRef>
          </c:xVal>
          <c:yVal>
            <c:numRef>
              <c:f>Sheet1!$B$2:$B$31</c:f>
              <c:numCache>
                <c:formatCode>General</c:formatCode>
                <c:ptCount val="30"/>
                <c:pt idx="0">
                  <c:v>0.036748147899135386</c:v>
                </c:pt>
                <c:pt idx="1">
                  <c:v>-0.019716594147356076</c:v>
                </c:pt>
                <c:pt idx="2">
                  <c:v>0.012155180585208897</c:v>
                </c:pt>
                <c:pt idx="3">
                  <c:v>0.08782290432983697</c:v>
                </c:pt>
                <c:pt idx="4">
                  <c:v>0.006371541547465359</c:v>
                </c:pt>
                <c:pt idx="5">
                  <c:v>0.06098101126917871</c:v>
                </c:pt>
                <c:pt idx="6">
                  <c:v>0.039718221920407304</c:v>
                </c:pt>
                <c:pt idx="7">
                  <c:v>-0.025160579277919815</c:v>
                </c:pt>
                <c:pt idx="8">
                  <c:v>0.007529653077889026</c:v>
                </c:pt>
                <c:pt idx="9">
                  <c:v>-0.08628623201048571</c:v>
                </c:pt>
                <c:pt idx="10">
                  <c:v>-0.006055708351749751</c:v>
                </c:pt>
                <c:pt idx="11">
                  <c:v>-0.0730472980590679</c:v>
                </c:pt>
                <c:pt idx="12">
                  <c:v>0.02460947281067749</c:v>
                </c:pt>
                <c:pt idx="13">
                  <c:v>-0.0019231713922422226</c:v>
                </c:pt>
                <c:pt idx="14">
                  <c:v>-0.03895831225196178</c:v>
                </c:pt>
                <c:pt idx="15">
                  <c:v>-0.018482308957629253</c:v>
                </c:pt>
                <c:pt idx="16">
                  <c:v>0.01036049119121818</c:v>
                </c:pt>
                <c:pt idx="17">
                  <c:v>0.003805043496578009</c:v>
                </c:pt>
                <c:pt idx="18">
                  <c:v>-0.00015924552723477203</c:v>
                </c:pt>
                <c:pt idx="19">
                  <c:v>-0.00499198452555516</c:v>
                </c:pt>
                <c:pt idx="20">
                  <c:v>-0.0015675198643406163</c:v>
                </c:pt>
                <c:pt idx="21">
                  <c:v>0.0016544766952414584</c:v>
                </c:pt>
                <c:pt idx="22">
                  <c:v>-0.01362159028545682</c:v>
                </c:pt>
                <c:pt idx="23">
                  <c:v>0.02490545802483645</c:v>
                </c:pt>
                <c:pt idx="24">
                  <c:v>0.00312120112108491</c:v>
                </c:pt>
                <c:pt idx="25">
                  <c:v>-0.001892066613810063</c:v>
                </c:pt>
                <c:pt idx="26">
                  <c:v>-0.006215716953742786</c:v>
                </c:pt>
                <c:pt idx="27">
                  <c:v>-0.003456725195413103</c:v>
                </c:pt>
                <c:pt idx="28">
                  <c:v>0.04363622716187035</c:v>
                </c:pt>
                <c:pt idx="29">
                  <c:v>-0.0010150026042812822</c:v>
                </c:pt>
              </c:numCache>
            </c:numRef>
          </c:yVal>
          <c:bubbleSize>
            <c:numRef>
              <c:f>Sheet1!$C$2:$C$31</c:f>
              <c:numCache>
                <c:formatCode>General</c:formatCode>
                <c:ptCount val="30"/>
                <c:pt idx="0">
                  <c:v>48922879.0</c:v>
                </c:pt>
                <c:pt idx="1">
                  <c:v>34052672.0</c:v>
                </c:pt>
                <c:pt idx="2">
                  <c:v>28040490.0</c:v>
                </c:pt>
                <c:pt idx="3">
                  <c:v>16500732.0</c:v>
                </c:pt>
                <c:pt idx="4">
                  <c:v>12561969.0</c:v>
                </c:pt>
                <c:pt idx="5">
                  <c:v>9818022.0</c:v>
                </c:pt>
                <c:pt idx="6">
                  <c:v>9394215.0</c:v>
                </c:pt>
                <c:pt idx="7">
                  <c:v>5582922.0</c:v>
                </c:pt>
                <c:pt idx="8">
                  <c:v>4614425.0</c:v>
                </c:pt>
                <c:pt idx="9">
                  <c:v>4603727.0</c:v>
                </c:pt>
                <c:pt idx="10">
                  <c:v>4394025.0</c:v>
                </c:pt>
                <c:pt idx="11">
                  <c:v>4286968.0</c:v>
                </c:pt>
                <c:pt idx="12">
                  <c:v>3402528.0</c:v>
                </c:pt>
                <c:pt idx="13">
                  <c:v>3138464.0</c:v>
                </c:pt>
                <c:pt idx="14">
                  <c:v>2780125.0</c:v>
                </c:pt>
                <c:pt idx="15">
                  <c:v>2639116.0</c:v>
                </c:pt>
                <c:pt idx="16">
                  <c:v>2364140.0</c:v>
                </c:pt>
                <c:pt idx="17">
                  <c:v>2253992.0</c:v>
                </c:pt>
                <c:pt idx="18">
                  <c:v>1658769.0</c:v>
                </c:pt>
                <c:pt idx="19">
                  <c:v>1573978.0</c:v>
                </c:pt>
                <c:pt idx="20">
                  <c:v>1546967.0</c:v>
                </c:pt>
                <c:pt idx="21">
                  <c:v>1522183.0</c:v>
                </c:pt>
                <c:pt idx="22">
                  <c:v>1358816.0</c:v>
                </c:pt>
                <c:pt idx="23">
                  <c:v>1118874.0</c:v>
                </c:pt>
                <c:pt idx="24">
                  <c:v>990210.0</c:v>
                </c:pt>
                <c:pt idx="25">
                  <c:v>940155.0</c:v>
                </c:pt>
                <c:pt idx="26">
                  <c:v>755678.0</c:v>
                </c:pt>
                <c:pt idx="27">
                  <c:v>701270.0</c:v>
                </c:pt>
                <c:pt idx="28">
                  <c:v>629495.0</c:v>
                </c:pt>
                <c:pt idx="29">
                  <c:v>530941.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2028965837079379"/>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2215012943345342"/>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BAADB7DE-76C8-4E85-A4BD-32A8CD73B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303A9C3E-2DC3-475A-B6CB-59525ED7C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FE38B637-FB76-4025-8A12-860927A42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C8A26D80-256D-41DC-A8AA-F5B1C5E3E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1D5A357F-699B-499B-9CBF-D4A3E9778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6F256834-197D-49DF-AC91-55B1598FA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5219E920-3C4B-4469-905E-C131F733D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F44278C1-7076-4913-A4A4-B8D95A826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730598FD-356E-4066-B3AB-C659B687E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819E49AF-BEEA-4903-8EEE-465E0A871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EBFF21B-C3BB-4E01-922D-A6DD083CD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2ABE016D-3DE0-40D4-917E-70FD9EDDE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FFA3D74F-E8AE-4381-B64D-3EA1AB0ED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8021C7EE-D8AF-4D6B-8FF1-E1CE095BB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E8D9ECB3-BA1B-4EE0-9DF8-54C882969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5A09CD94-A249-4BF6-BD55-5191C1294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EB0AFCDE-DF32-42FB-9F02-DF81CC97D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31C6F07-0739-4CE8-8756-9E182613C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1372EAFF-0E54-42E1-8C63-C4E9C5FED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E519E78-7651-49A2-BC47-2FCAD6F24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2654893A-C904-41E8-A891-09B8EEEAA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2A6D78F9-FB61-45E6-AE42-6B2C661C4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3279688-BEA8-4977-B816-6769F2EAD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882AEA4F-A0DE-4765-987B-B0EE88CEE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597ADEB4-C424-4CE7-A76A-658513111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455FC7FF-2F07-44BF-BEF9-D362892B9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615DB89-D7E7-49A0-AE6D-2E4F3619F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AE1F5646-DFFD-4277-8820-B66E92A36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9AB5DE4D-9636-4210-A41D-2005053C2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0E0B8125-CA35-4D74-B5DB-B8EEB6DC5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45CB637-9E2E-4E3D-8712-AC5592817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C2BC1862-590F-4DC5-81F8-7B3BCF64F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7470002598346892</c:v>
                </c:pt>
                <c:pt idx="1">
                  <c:v>-0.013450999848848733</c:v>
                </c:pt>
                <c:pt idx="2">
                  <c:v>-0.0008331313430074427</c:v>
                </c:pt>
                <c:pt idx="3">
                  <c:v>-0.03847469910693621</c:v>
                </c:pt>
                <c:pt idx="4">
                  <c:v>-0.02714556017020628</c:v>
                </c:pt>
                <c:pt idx="5">
                  <c:v>-0.012865427643561494</c:v>
                </c:pt>
                <c:pt idx="6">
                  <c:v>-0.008911229846710028</c:v>
                </c:pt>
                <c:pt idx="7">
                  <c:v>-0.01582527011709345</c:v>
                </c:pt>
                <c:pt idx="8">
                  <c:v>-0.01091070367468866</c:v>
                </c:pt>
                <c:pt idx="9">
                  <c:v>0.06256937619821834</c:v>
                </c:pt>
                <c:pt idx="10">
                  <c:v>0.023884072090688824</c:v>
                </c:pt>
                <c:pt idx="11">
                  <c:v>-0.0020596491603450673</c:v>
                </c:pt>
                <c:pt idx="12">
                  <c:v>-0.027173744066951333</c:v>
                </c:pt>
                <c:pt idx="13">
                  <c:v>-0.035741054384167165</c:v>
                </c:pt>
                <c:pt idx="14">
                  <c:v>0.04308526014084352</c:v>
                </c:pt>
                <c:pt idx="15">
                  <c:v>-0.0006392117650333845</c:v>
                </c:pt>
                <c:pt idx="16">
                  <c:v>0.010114539620513688</c:v>
                </c:pt>
                <c:pt idx="17">
                  <c:v>0.037040833484213706</c:v>
                </c:pt>
                <c:pt idx="18">
                  <c:v>0.01537828298987232</c:v>
                </c:pt>
                <c:pt idx="19">
                  <c:v>0.03178825158664415</c:v>
                </c:pt>
                <c:pt idx="20">
                  <c:v>0.035903786723482406</c:v>
                </c:pt>
                <c:pt idx="21">
                  <c:v>-0.029190900599525116</c:v>
                </c:pt>
                <c:pt idx="22">
                  <c:v>0.06624905920446561</c:v>
                </c:pt>
                <c:pt idx="23">
                  <c:v>-0.010398054151183722</c:v>
                </c:pt>
                <c:pt idx="24">
                  <c:v>-0.03159809821074132</c:v>
                </c:pt>
                <c:pt idx="25">
                  <c:v>-0.00038435619591865866</c:v>
                </c:pt>
                <c:pt idx="26">
                  <c:v>-0.01898640334826971</c:v>
                </c:pt>
                <c:pt idx="27">
                  <c:v>0.004339667321392984</c:v>
                </c:pt>
                <c:pt idx="28">
                  <c:v>-0.043627518965590695</c:v>
                </c:pt>
                <c:pt idx="29">
                  <c:v>-0.02969485689698459</c:v>
                </c:pt>
              </c:numCache>
            </c:numRef>
          </c:xVal>
          <c:yVal>
            <c:numRef>
              <c:f>Sheet1!$B$2:$B$31</c:f>
              <c:numCache>
                <c:formatCode>General</c:formatCode>
                <c:ptCount val="30"/>
                <c:pt idx="0">
                  <c:v>0.08483495937558583</c:v>
                </c:pt>
                <c:pt idx="1">
                  <c:v>0.03817314572853886</c:v>
                </c:pt>
                <c:pt idx="2">
                  <c:v>0.0196105472870044</c:v>
                </c:pt>
                <c:pt idx="3">
                  <c:v>-0.050931067677063624</c:v>
                </c:pt>
                <c:pt idx="4">
                  <c:v>-0.03283755865058614</c:v>
                </c:pt>
                <c:pt idx="5">
                  <c:v>-0.005376701695105651</c:v>
                </c:pt>
                <c:pt idx="6">
                  <c:v>0.004478803618169935</c:v>
                </c:pt>
                <c:pt idx="7">
                  <c:v>-0.08266312135325427</c:v>
                </c:pt>
                <c:pt idx="8">
                  <c:v>-0.05716309388653082</c:v>
                </c:pt>
                <c:pt idx="9">
                  <c:v>0.09322974497151959</c:v>
                </c:pt>
                <c:pt idx="10">
                  <c:v>0.00904392310505786</c:v>
                </c:pt>
                <c:pt idx="11">
                  <c:v>0.014174169033849743</c:v>
                </c:pt>
                <c:pt idx="12">
                  <c:v>-0.029004823080741954</c:v>
                </c:pt>
                <c:pt idx="13">
                  <c:v>-0.011535055568102942</c:v>
                </c:pt>
                <c:pt idx="14">
                  <c:v>-0.002310239902289582</c:v>
                </c:pt>
                <c:pt idx="15">
                  <c:v>0.008169678398685348</c:v>
                </c:pt>
                <c:pt idx="16">
                  <c:v>0.014707155347088316</c:v>
                </c:pt>
                <c:pt idx="17">
                  <c:v>0.07687736790695522</c:v>
                </c:pt>
                <c:pt idx="18">
                  <c:v>0.010122461717781823</c:v>
                </c:pt>
                <c:pt idx="19">
                  <c:v>0.042897743671182334</c:v>
                </c:pt>
                <c:pt idx="20">
                  <c:v>0.044784224374162185</c:v>
                </c:pt>
                <c:pt idx="21">
                  <c:v>-0.046493765442140636</c:v>
                </c:pt>
                <c:pt idx="22">
                  <c:v>0.09070577024948268</c:v>
                </c:pt>
                <c:pt idx="23">
                  <c:v>-0.006965321041296504</c:v>
                </c:pt>
                <c:pt idx="24">
                  <c:v>-0.04798047305827356</c:v>
                </c:pt>
                <c:pt idx="25">
                  <c:v>0.00844648766480155</c:v>
                </c:pt>
                <c:pt idx="26">
                  <c:v>-0.017262397999525128</c:v>
                </c:pt>
                <c:pt idx="27">
                  <c:v>-0.006000963555404221</c:v>
                </c:pt>
                <c:pt idx="28">
                  <c:v>-0.054174207330058594</c:v>
                </c:pt>
                <c:pt idx="29">
                  <c:v>-0.027441055618726173</c:v>
                </c:pt>
              </c:numCache>
            </c:numRef>
          </c:yVal>
          <c:bubbleSize>
            <c:numRef>
              <c:f>Sheet1!$C$2:$C$31</c:f>
              <c:numCache>
                <c:formatCode>General</c:formatCode>
                <c:ptCount val="30"/>
                <c:pt idx="0">
                  <c:v>31103571.0</c:v>
                </c:pt>
                <c:pt idx="1">
                  <c:v>14642767.0</c:v>
                </c:pt>
                <c:pt idx="2">
                  <c:v>13996100.0</c:v>
                </c:pt>
                <c:pt idx="3">
                  <c:v>9788941.0</c:v>
                </c:pt>
                <c:pt idx="4">
                  <c:v>8787118.0</c:v>
                </c:pt>
                <c:pt idx="5">
                  <c:v>8568392.0</c:v>
                </c:pt>
                <c:pt idx="6">
                  <c:v>6814609.0</c:v>
                </c:pt>
                <c:pt idx="7">
                  <c:v>6036417.0</c:v>
                </c:pt>
                <c:pt idx="8">
                  <c:v>6025304.0</c:v>
                </c:pt>
                <c:pt idx="9">
                  <c:v>4036790.0</c:v>
                </c:pt>
                <c:pt idx="10">
                  <c:v>3809675.0</c:v>
                </c:pt>
                <c:pt idx="11">
                  <c:v>3073650.0</c:v>
                </c:pt>
                <c:pt idx="12">
                  <c:v>2942422.0</c:v>
                </c:pt>
                <c:pt idx="13">
                  <c:v>2919014.0</c:v>
                </c:pt>
                <c:pt idx="14">
                  <c:v>2803958.0</c:v>
                </c:pt>
                <c:pt idx="15">
                  <c:v>2798589.0</c:v>
                </c:pt>
                <c:pt idx="16">
                  <c:v>2620936.0</c:v>
                </c:pt>
                <c:pt idx="17">
                  <c:v>2172473.0</c:v>
                </c:pt>
                <c:pt idx="18">
                  <c:v>2156422.0</c:v>
                </c:pt>
                <c:pt idx="19">
                  <c:v>1432752.0</c:v>
                </c:pt>
                <c:pt idx="20">
                  <c:v>1401811.0</c:v>
                </c:pt>
                <c:pt idx="21">
                  <c:v>1374615.0</c:v>
                </c:pt>
                <c:pt idx="22">
                  <c:v>1315568.0</c:v>
                </c:pt>
                <c:pt idx="23">
                  <c:v>1226633.0</c:v>
                </c:pt>
                <c:pt idx="24">
                  <c:v>1098032.0</c:v>
                </c:pt>
                <c:pt idx="25">
                  <c:v>824248.0</c:v>
                </c:pt>
                <c:pt idx="26">
                  <c:v>799668.0</c:v>
                </c:pt>
                <c:pt idx="27">
                  <c:v>721911.0</c:v>
                </c:pt>
                <c:pt idx="28">
                  <c:v>548650.0</c:v>
                </c:pt>
                <c:pt idx="29">
                  <c:v>422791.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27372112196921944"/>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15714095282680473"/>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9187C520-5B74-4ACA-8935-4667B22B9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D292CC98-4A3B-44A9-BBD3-5E2F379AE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AC6605D1-D529-49B0-B5A2-7D5AE1CFA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0A280F79-8947-44C8-B097-198690710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F398BBB7-A6B2-45B6-A4C1-0760BBB88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B641EBF8-5E24-4B38-A9FD-AED4D7639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613B09EB-61C8-406B-BF5D-F5E1C294B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400A329D-5945-48BA-B6E9-6C7278D4C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6E035E1E-2276-4AE5-94E1-0E4D2369D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C71E33B-F571-4869-B2A1-2C5AC677D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FE71C0E0-DAD8-42A5-9F62-42381DA28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E145EC5C-C7E0-48FF-A36C-6880079E8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550C9102-4171-495E-9F54-AF80C7B69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003CE7E8-6AE1-4A73-83AA-236A6F0A8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44855EF0-B32A-4854-8969-ED7348AA1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F7F70A3A-E59C-440D-8D4C-B06959E4B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FF50B171-AABF-429A-BCE7-4329ABC5E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796CFA66-30E6-4C95-A02C-28C700104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EB9F47A-B6F5-47CD-9E24-43469ABE9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D490022C-EC9C-488C-9477-D126C337C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13EA64FE-0AD1-458D-8C27-9AF6BCFB7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C8599BA2-3B08-478F-AE8F-259D6CEC0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AB1A6531-B076-4CB2-92B4-826D25A85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5D884105-E608-4EFF-A2C3-7897E7A42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B0C2310B-5FD1-4D04-B2B3-6BE01E5DB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F1C60F86-C4DE-46B8-B79A-E036A1C45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E5F36984-D99C-4E81-BED2-30C318C12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288F9227-A254-4AD6-AE6F-2F89674C6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100A6D99-CEFF-44FE-813F-F6CDA896C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3EFB3F71-5DC2-471A-8188-721EE36BA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3BBBE526-60AD-45B6-9538-B0295D034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58074B39-DC2F-4932-AE94-460B5C202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07299048005668946</c:v>
                </c:pt>
                <c:pt idx="1">
                  <c:v>-0.01702599522531978</c:v>
                </c:pt>
                <c:pt idx="2">
                  <c:v>-0.0008331313430074427</c:v>
                </c:pt>
                <c:pt idx="3">
                  <c:v>-0.03714188531934029</c:v>
                </c:pt>
                <c:pt idx="4">
                  <c:v>-0.028323041353231604</c:v>
                </c:pt>
                <c:pt idx="5">
                  <c:v>-0.012640292822329757</c:v>
                </c:pt>
                <c:pt idx="6">
                  <c:v>-0.011185849456822189</c:v>
                </c:pt>
                <c:pt idx="7">
                  <c:v>-0.007258629357616245</c:v>
                </c:pt>
                <c:pt idx="8">
                  <c:v>-0.007964926307422904</c:v>
                </c:pt>
                <c:pt idx="9">
                  <c:v>0.01720064452860312</c:v>
                </c:pt>
                <c:pt idx="10">
                  <c:v>-0.027173744066951333</c:v>
                </c:pt>
                <c:pt idx="11">
                  <c:v>0.04308526014084352</c:v>
                </c:pt>
                <c:pt idx="12">
                  <c:v>-0.0006392117650333845</c:v>
                </c:pt>
                <c:pt idx="13">
                  <c:v>0.010114539620513688</c:v>
                </c:pt>
                <c:pt idx="14">
                  <c:v>0.014500435821758471</c:v>
                </c:pt>
                <c:pt idx="15">
                  <c:v>0.012535805875877215</c:v>
                </c:pt>
                <c:pt idx="16">
                  <c:v>0.013238983268820503</c:v>
                </c:pt>
                <c:pt idx="17">
                  <c:v>0.021197253995559506</c:v>
                </c:pt>
                <c:pt idx="18">
                  <c:v>-0.01036693917624046</c:v>
                </c:pt>
                <c:pt idx="19">
                  <c:v>-0.0002120698452015754</c:v>
                </c:pt>
                <c:pt idx="20">
                  <c:v>8.624706604595041e-05</c:v>
                </c:pt>
              </c:numCache>
            </c:numRef>
          </c:xVal>
          <c:yVal>
            <c:numRef>
              <c:f>Sheet1!$B$2:$B$22</c:f>
              <c:numCache>
                <c:formatCode>General</c:formatCode>
                <c:ptCount val="21"/>
                <c:pt idx="0">
                  <c:v>0.0859204298197983</c:v>
                </c:pt>
                <c:pt idx="1">
                  <c:v>0.040338390992350315</c:v>
                </c:pt>
                <c:pt idx="2">
                  <c:v>0.0196105472870044</c:v>
                </c:pt>
                <c:pt idx="3">
                  <c:v>-0.049572342388844615</c:v>
                </c:pt>
                <c:pt idx="4">
                  <c:v>-0.035329334089436254</c:v>
                </c:pt>
                <c:pt idx="5">
                  <c:v>-0.005425354888148035</c:v>
                </c:pt>
                <c:pt idx="6">
                  <c:v>-0.0371841568438884</c:v>
                </c:pt>
                <c:pt idx="7">
                  <c:v>0.0049841977900236395</c:v>
                </c:pt>
                <c:pt idx="8">
                  <c:v>-0.0313701886720498</c:v>
                </c:pt>
                <c:pt idx="9">
                  <c:v>0.012884865450668359</c:v>
                </c:pt>
                <c:pt idx="10">
                  <c:v>-0.029004823080741954</c:v>
                </c:pt>
                <c:pt idx="11">
                  <c:v>-0.002310239902289582</c:v>
                </c:pt>
                <c:pt idx="12">
                  <c:v>0.008169678398685348</c:v>
                </c:pt>
                <c:pt idx="13">
                  <c:v>0.014707155347088316</c:v>
                </c:pt>
                <c:pt idx="14">
                  <c:v>0.009832391637011474</c:v>
                </c:pt>
                <c:pt idx="15">
                  <c:v>0.01502220706666755</c:v>
                </c:pt>
                <c:pt idx="16">
                  <c:v>0.0034812060548998006</c:v>
                </c:pt>
                <c:pt idx="17">
                  <c:v>0.030505410534473292</c:v>
                </c:pt>
                <c:pt idx="18">
                  <c:v>-0.01118107987082371</c:v>
                </c:pt>
                <c:pt idx="19">
                  <c:v>-8.58119261686497e-05</c:v>
                </c:pt>
                <c:pt idx="20">
                  <c:v>0.00010626299643433432</c:v>
                </c:pt>
              </c:numCache>
            </c:numRef>
          </c:yVal>
          <c:bubbleSize>
            <c:numRef>
              <c:f>Sheet1!$C$2:$C$22</c:f>
              <c:numCache>
                <c:formatCode>General</c:formatCode>
                <c:ptCount val="21"/>
                <c:pt idx="0">
                  <c:v>36455929.0</c:v>
                </c:pt>
                <c:pt idx="1">
                  <c:v>17561781.0</c:v>
                </c:pt>
                <c:pt idx="2">
                  <c:v>13996100.0</c:v>
                </c:pt>
                <c:pt idx="3">
                  <c:v>11309764.0</c:v>
                </c:pt>
                <c:pt idx="4">
                  <c:v>10710383.0</c:v>
                </c:pt>
                <c:pt idx="5">
                  <c:v>10187507.0</c:v>
                </c:pt>
                <c:pt idx="6">
                  <c:v>9110067.0</c:v>
                </c:pt>
                <c:pt idx="7">
                  <c:v>7923695.0</c:v>
                </c:pt>
                <c:pt idx="8">
                  <c:v>6302956.0</c:v>
                </c:pt>
                <c:pt idx="9">
                  <c:v>4135261.0</c:v>
                </c:pt>
                <c:pt idx="10">
                  <c:v>2942422.0</c:v>
                </c:pt>
                <c:pt idx="11">
                  <c:v>2803958.0</c:v>
                </c:pt>
                <c:pt idx="12">
                  <c:v>2798589.0</c:v>
                </c:pt>
                <c:pt idx="13">
                  <c:v>2620936.0</c:v>
                </c:pt>
                <c:pt idx="14">
                  <c:v>2335020.0</c:v>
                </c:pt>
                <c:pt idx="15">
                  <c:v>2309548.0</c:v>
                </c:pt>
                <c:pt idx="16">
                  <c:v>2123722.0</c:v>
                </c:pt>
                <c:pt idx="17">
                  <c:v>1593405.0</c:v>
                </c:pt>
                <c:pt idx="18">
                  <c:v>85829.0</c:v>
                </c:pt>
                <c:pt idx="19">
                  <c:v>6760.0</c:v>
                </c:pt>
                <c:pt idx="20">
                  <c:v>3941.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20999719863197207"/>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2103996873152118"/>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6A690127-DD52-4B05-A0DB-40CF74BA1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BA8D0C8A-B626-4B39-B190-3DF28B04D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942E723F-D8F1-4120-AAD5-E5A937C2F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D9261B88-6E07-4FBB-9498-E152A0D3B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49DDE78-C1CD-4C37-81B5-478389127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CAB2FF14-5BA9-47FA-BCA1-847A052C0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BF0B7D3C-0DE0-4DE4-8363-3A8412AB3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4697D16-B32A-418C-B074-FE6D7BC39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AEE2FB5A-D841-4527-AEB7-850787CF7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CAEC06E-7B3B-4D9C-B3A5-9FCFA9163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223EFC58-205A-45DE-999E-867EC7760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336BC359-D990-4EE1-9B29-CB8E2F87E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FBC2F579-6527-4A17-9CF2-E5F17E822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810EB4A1-71D5-4899-AFE9-48DF2E486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65602D9B-CEDD-4003-BC88-C66D8D7E9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1828804C-7F49-48F2-BDC2-BA8B5EDC9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8BC816C-CB04-4485-A487-F7BCD938A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95BF6236-726A-4BEA-A83C-669F1260E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83CD28FB-8EA7-42B0-8ACB-1018C2201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5B06B719-A8AD-4081-B97D-6206F8CD3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0881EC3D-2167-4710-8F4F-9471BAB3A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8F2EA389-103C-4DC8-96FE-AB0D72A1B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53B45752-BF20-46F4-B1D1-10731C3E3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3EC08349-DB9F-421D-A8EC-3061FF278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1C3595E9-AC8A-4636-BB01-D29D47174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6434261-C079-4F77-AB6E-7B1900DCB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C2750B52-A344-434C-823C-FAC16FD69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FF08749-09EF-4F91-8DD0-4D58986A0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5DF49468-A210-41CA-867C-1A4EA3737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E31B709-8158-466C-831D-D08BD5805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3CFCDCA2-EE8F-4392-9F3C-C576643EA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A5344534-B69F-43A4-A9F6-585AE2E97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009554512917873681</c:v>
                </c:pt>
                <c:pt idx="1">
                  <c:v>-0.015381037429330086</c:v>
                </c:pt>
                <c:pt idx="2">
                  <c:v>0.011859631963045611</c:v>
                </c:pt>
                <c:pt idx="3">
                  <c:v>0.06075758002013608</c:v>
                </c:pt>
                <c:pt idx="4">
                  <c:v>-0.005372240108631271</c:v>
                </c:pt>
                <c:pt idx="5">
                  <c:v>0.004148244937094439</c:v>
                </c:pt>
                <c:pt idx="6">
                  <c:v>-0.09798565260124104</c:v>
                </c:pt>
                <c:pt idx="7">
                  <c:v>-0.0009894838955210872</c:v>
                </c:pt>
                <c:pt idx="8">
                  <c:v>-0.02730114083951163</c:v>
                </c:pt>
                <c:pt idx="9">
                  <c:v>0.05914286538014483</c:v>
                </c:pt>
                <c:pt idx="10">
                  <c:v>-0.002600503341420285</c:v>
                </c:pt>
              </c:numCache>
            </c:numRef>
          </c:xVal>
          <c:yVal>
            <c:numRef>
              <c:f>Sheet1!$B$2:$B$12</c:f>
              <c:numCache>
                <c:formatCode>General</c:formatCode>
                <c:ptCount val="11"/>
                <c:pt idx="0">
                  <c:v>-0.05157204641357027</c:v>
                </c:pt>
                <c:pt idx="1">
                  <c:v>-0.028846179906125757</c:v>
                </c:pt>
                <c:pt idx="2">
                  <c:v>0.02650217891823825</c:v>
                </c:pt>
                <c:pt idx="3">
                  <c:v>0.025532829738525498</c:v>
                </c:pt>
                <c:pt idx="4">
                  <c:v>0.006243658060135132</c:v>
                </c:pt>
                <c:pt idx="5">
                  <c:v>0.0028596528082434347</c:v>
                </c:pt>
                <c:pt idx="6">
                  <c:v>-0.11612420654697769</c:v>
                </c:pt>
                <c:pt idx="7">
                  <c:v>-0.029140811149261342</c:v>
                </c:pt>
                <c:pt idx="8">
                  <c:v>-0.12893169337647672</c:v>
                </c:pt>
                <c:pt idx="9">
                  <c:v>0.09554078381634933</c:v>
                </c:pt>
                <c:pt idx="10">
                  <c:v>-0.00748690078743957</c:v>
                </c:pt>
              </c:numCache>
            </c:numRef>
          </c:yVal>
          <c:bubbleSize>
            <c:numRef>
              <c:f>Sheet1!$C$2:$C$12</c:f>
              <c:numCache>
                <c:formatCode>General</c:formatCode>
                <c:ptCount val="11"/>
                <c:pt idx="0">
                  <c:v>8309733.0</c:v>
                </c:pt>
                <c:pt idx="1">
                  <c:v>4380844.0</c:v>
                </c:pt>
                <c:pt idx="2">
                  <c:v>3039739.0</c:v>
                </c:pt>
                <c:pt idx="3">
                  <c:v>2907116.0</c:v>
                </c:pt>
                <c:pt idx="4">
                  <c:v>2906263.0</c:v>
                </c:pt>
                <c:pt idx="5">
                  <c:v>2675890.0</c:v>
                </c:pt>
                <c:pt idx="6">
                  <c:v>1950313.0</c:v>
                </c:pt>
                <c:pt idx="7">
                  <c:v>878970.0</c:v>
                </c:pt>
                <c:pt idx="8">
                  <c:v>776117.0</c:v>
                </c:pt>
                <c:pt idx="9">
                  <c:v>324121.0</c:v>
                </c:pt>
                <c:pt idx="10">
                  <c:v>295134.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186747940762145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2116022621191647"/>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DC3793E4-CDC0-4D68-9CEB-3826EC889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30FBC59-A57F-43D4-8C5E-CDB7C39F1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71CC925A-6C06-4F12-9220-41B6760C2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21B56FB3-F1FE-4179-9227-C13126F04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06B25615-3669-46B2-839C-6F3A09FE6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F9DD3FCF-97B1-4589-BFA2-D5C740855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740BF6C6-C29E-4FD8-9DE2-5B5860E8D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B94DA1B4-9331-4023-A8E5-CE9004B4F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49B89B1-E857-47D6-B682-BDFB5AE99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D71659DF-4708-4A62-BDD2-3D5515B6D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FA7C8D5-EECF-478D-A68F-F3F4964E6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4F376BB7-4329-49BE-B2E3-480E8FD8D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0FE030E1-9B19-49D8-A290-CBC937975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9B1B3520-C44A-4DF8-800A-AE7F7CF9D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133D92F8-34C5-4D2C-B935-F87F8D730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1699BAD5-CAEE-454D-854C-B927BC30F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DDDF743-E1AF-4123-9C08-911B89613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EB1E6A3D-4B37-4C1A-967B-027F0596C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82D22FA-6691-4C3B-9E62-91C153C95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F2AAAC2E-37F1-4390-8ABD-49934FC21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5A7A85BC-EA2B-4B44-83D7-F037930CC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5D47AD03-725D-4BDA-95F7-2EE9A37D5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C17147E0-25D1-4373-9AF8-6569C685E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C8782E8F-A891-4A43-B83A-FCE7CE17A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A870B09C-4CC1-4012-A603-D9C4DBCB8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A67120C6-3570-4A73-97EA-0E42E293B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10254C30-FC84-458D-BD03-F4C1E0047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B5440A2D-495E-40C4-AC15-362568023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r>
                      <a:t>29</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93D60BF-36A4-4F49-9B09-2DF07FA29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DB4ACAF2-057E-41B8-8677-62C644F43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AB352602-9000-4DB8-8B46-E66BFA0F7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E28E6DA-B548-4DEC-BC36-FC7FE9DAD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0</c:f>
              <c:numCache>
                <c:formatCode>General</c:formatCode>
                <c:ptCount val="29"/>
                <c:pt idx="0">
                  <c:v>-0.035278908342035176</c:v>
                </c:pt>
                <c:pt idx="1">
                  <c:v>0.02889179651607121</c:v>
                </c:pt>
                <c:pt idx="2">
                  <c:v>0.03032098436096428</c:v>
                </c:pt>
                <c:pt idx="3">
                  <c:v>-0.027597117012030825</c:v>
                </c:pt>
                <c:pt idx="4">
                  <c:v>-0.003946644639796659</c:v>
                </c:pt>
                <c:pt idx="5">
                  <c:v>0.0023804698069700148</c:v>
                </c:pt>
                <c:pt idx="6">
                  <c:v>-0.015026680868632403</c:v>
                </c:pt>
                <c:pt idx="7">
                  <c:v>0.004611366778366821</c:v>
                </c:pt>
                <c:pt idx="8">
                  <c:v>-0.023385529930763704</c:v>
                </c:pt>
                <c:pt idx="9">
                  <c:v>0.0236952097333573</c:v>
                </c:pt>
                <c:pt idx="10">
                  <c:v>-0.006076752955193818</c:v>
                </c:pt>
                <c:pt idx="11">
                  <c:v>-0.05550376536184687</c:v>
                </c:pt>
                <c:pt idx="12">
                  <c:v>-0.0013352599770134338</c:v>
                </c:pt>
                <c:pt idx="13">
                  <c:v>-0.0020430492297018876</c:v>
                </c:pt>
                <c:pt idx="14">
                  <c:v>0.001762989546625321</c:v>
                </c:pt>
                <c:pt idx="15">
                  <c:v>-0.04372539418963112</c:v>
                </c:pt>
                <c:pt idx="16">
                  <c:v>0.03268090343032931</c:v>
                </c:pt>
                <c:pt idx="17">
                  <c:v>0.00031828518547531714</c:v>
                </c:pt>
                <c:pt idx="18">
                  <c:v>-0.019175499828096784</c:v>
                </c:pt>
                <c:pt idx="19">
                  <c:v>0.027058118836107328</c:v>
                </c:pt>
                <c:pt idx="20">
                  <c:v>0.004339515597771099</c:v>
                </c:pt>
                <c:pt idx="21">
                  <c:v>0.04166843958363026</c:v>
                </c:pt>
                <c:pt idx="22">
                  <c:v>-0.005478577864933824</c:v>
                </c:pt>
                <c:pt idx="23">
                  <c:v>0.0006573901194506793</c:v>
                </c:pt>
                <c:pt idx="24">
                  <c:v>0.028860678347107153</c:v>
                </c:pt>
                <c:pt idx="25">
                  <c:v>0.015022621394631674</c:v>
                </c:pt>
                <c:pt idx="26">
                  <c:v>-0.008735197512634199</c:v>
                </c:pt>
                <c:pt idx="27">
                  <c:v>0.003942601560748845</c:v>
                </c:pt>
                <c:pt idx="28">
                  <c:v>-0.0032162586106855313</c:v>
                </c:pt>
              </c:numCache>
            </c:numRef>
          </c:xVal>
          <c:yVal>
            <c:numRef>
              <c:f>Sheet1!$B$2:$B$30</c:f>
              <c:numCache>
                <c:formatCode>General</c:formatCode>
                <c:ptCount val="29"/>
                <c:pt idx="0">
                  <c:v>0.032933150743146955</c:v>
                </c:pt>
                <c:pt idx="1">
                  <c:v>0.009067895619763067</c:v>
                </c:pt>
                <c:pt idx="2">
                  <c:v>-0.011287376634588106</c:v>
                </c:pt>
                <c:pt idx="3">
                  <c:v>-0.0067394906023555134</c:v>
                </c:pt>
                <c:pt idx="4">
                  <c:v>0.054574151412017824</c:v>
                </c:pt>
                <c:pt idx="5">
                  <c:v>0.026477053836603745</c:v>
                </c:pt>
                <c:pt idx="6">
                  <c:v>-0.002367152378013382</c:v>
                </c:pt>
                <c:pt idx="7">
                  <c:v>0.1207999307611779</c:v>
                </c:pt>
                <c:pt idx="8">
                  <c:v>0.04111597001708922</c:v>
                </c:pt>
                <c:pt idx="9">
                  <c:v>0.0030020210256943777</c:v>
                </c:pt>
                <c:pt idx="10">
                  <c:v>-0.04875023549349338</c:v>
                </c:pt>
                <c:pt idx="11">
                  <c:v>-0.06605342101942019</c:v>
                </c:pt>
                <c:pt idx="12">
                  <c:v>-0.0023496579505498383</c:v>
                </c:pt>
                <c:pt idx="13">
                  <c:v>-0.06110469994042586</c:v>
                </c:pt>
                <c:pt idx="14">
                  <c:v>0.011317220241518738</c:v>
                </c:pt>
                <c:pt idx="15">
                  <c:v>0.02598812638696979</c:v>
                </c:pt>
                <c:pt idx="16">
                  <c:v>-0.013946369823694932</c:v>
                </c:pt>
                <c:pt idx="17">
                  <c:v>0.019405531635050002</c:v>
                </c:pt>
                <c:pt idx="18">
                  <c:v>-0.00547826415677008</c:v>
                </c:pt>
                <c:pt idx="19">
                  <c:v>-0.05035089230465155</c:v>
                </c:pt>
                <c:pt idx="20">
                  <c:v>0.03796007546341959</c:v>
                </c:pt>
                <c:pt idx="21">
                  <c:v>-0.022886409939894714</c:v>
                </c:pt>
                <c:pt idx="22">
                  <c:v>-0.04191736143496169</c:v>
                </c:pt>
                <c:pt idx="23">
                  <c:v>0.007636535920830495</c:v>
                </c:pt>
                <c:pt idx="24">
                  <c:v>0.0070835372626896</c:v>
                </c:pt>
                <c:pt idx="25">
                  <c:v>0.0008205476414896926</c:v>
                </c:pt>
                <c:pt idx="26">
                  <c:v>-0.04962765894440882</c:v>
                </c:pt>
                <c:pt idx="27">
                  <c:v>0.007720243202416168</c:v>
                </c:pt>
                <c:pt idx="28">
                  <c:v>-0.007653096180108906</c:v>
                </c:pt>
              </c:numCache>
            </c:numRef>
          </c:yVal>
          <c:bubbleSize>
            <c:numRef>
              <c:f>Sheet1!$C$2:$C$30</c:f>
              <c:numCache>
                <c:formatCode>General</c:formatCode>
                <c:ptCount val="29"/>
                <c:pt idx="0">
                  <c:v>21511399.0</c:v>
                </c:pt>
                <c:pt idx="1">
                  <c:v>8020511.0</c:v>
                </c:pt>
                <c:pt idx="2">
                  <c:v>4381121.0</c:v>
                </c:pt>
                <c:pt idx="3">
                  <c:v>4366177.0</c:v>
                </c:pt>
                <c:pt idx="4">
                  <c:v>4352317.0</c:v>
                </c:pt>
                <c:pt idx="5">
                  <c:v>4196675.0</c:v>
                </c:pt>
                <c:pt idx="6">
                  <c:v>4158861.0</c:v>
                </c:pt>
                <c:pt idx="7">
                  <c:v>3991950.0</c:v>
                </c:pt>
                <c:pt idx="8">
                  <c:v>3072767.0</c:v>
                </c:pt>
                <c:pt idx="9">
                  <c:v>2156152.0</c:v>
                </c:pt>
                <c:pt idx="10">
                  <c:v>1716550.0</c:v>
                </c:pt>
                <c:pt idx="11">
                  <c:v>1665023.0</c:v>
                </c:pt>
                <c:pt idx="12">
                  <c:v>1451941.0</c:v>
                </c:pt>
                <c:pt idx="13">
                  <c:v>1143914.0</c:v>
                </c:pt>
                <c:pt idx="14">
                  <c:v>1120544.0</c:v>
                </c:pt>
                <c:pt idx="15">
                  <c:v>968047.0</c:v>
                </c:pt>
                <c:pt idx="16">
                  <c:v>745838.0</c:v>
                </c:pt>
                <c:pt idx="17">
                  <c:v>645725.0</c:v>
                </c:pt>
                <c:pt idx="18">
                  <c:v>636337.0</c:v>
                </c:pt>
                <c:pt idx="19">
                  <c:v>615635.0</c:v>
                </c:pt>
                <c:pt idx="20">
                  <c:v>314276.0</c:v>
                </c:pt>
                <c:pt idx="21">
                  <c:v>310560.0</c:v>
                </c:pt>
                <c:pt idx="22">
                  <c:v>260105.0</c:v>
                </c:pt>
                <c:pt idx="23">
                  <c:v>253416.0</c:v>
                </c:pt>
                <c:pt idx="24">
                  <c:v>230193.0</c:v>
                </c:pt>
                <c:pt idx="25">
                  <c:v>211534.0</c:v>
                </c:pt>
                <c:pt idx="26">
                  <c:v>98099.0</c:v>
                </c:pt>
                <c:pt idx="27">
                  <c:v>63149.0</c:v>
                </c:pt>
                <c:pt idx="28">
                  <c:v>52193.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530686357466903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14873329397895233"/>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29E0ACA-137A-42C5-BCC3-11B13419D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6087D7C-B53E-4DC8-BAB9-ED822954E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280DFE99-1524-4C5A-BB73-9823BFC53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D37263B-1FC7-40DC-AF92-FEC6333D1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18A00F6-CF21-4A6D-AEFE-92FFEC286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D4963B4-CBA7-44AE-8DE0-A336078C9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14D7F9CF-6005-40C3-B1FA-2DF8AE78A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CE5675E4-1EEC-4C10-8D0D-6F61368E0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858B2027-1026-4FA4-B835-AE5DF1AAE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0E6222B-4449-4B28-AEE7-BEE152B9A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E538F49A-0262-4E2B-A49A-14BAD7182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D73C8D21-0EBC-43F6-A120-06C2F47ED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30A3D7CD-6274-4CA4-8C9C-9F431A02F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FA5B6730-0E35-4F2B-AC69-A6B76D5E5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EFA0613A-0FC5-4DFA-B9C1-B2A7C7A9D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7689FCC5-2600-43A1-9F02-3DDED9A87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4773B4E-6711-44E3-B3BA-D5CB9F67D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46BF508A-0DD8-444A-BB3F-42DFA444C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474C8CE-C222-4D52-A9B8-48BED9AE9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57055CD7-6ADD-4280-8895-BE18A379B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EDD5128E-EFEF-446D-951C-FAC38EA29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3C67EA9E-29BA-4E47-B06B-C10C78919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CA14D435-B409-4126-894C-B1518AF68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B772EF90-4BC2-4C71-961D-6D0A20EFC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A5F5A634-79A5-4A1E-8158-093126A50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CDDC3138-F42B-42AC-A98F-D7AAB01FC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CC031DA7-565B-4F15-8109-2239AE549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BDEB17DD-9F8A-4B40-9ADC-94BDC1143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4D84562D-F022-41CD-9776-83E663687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01A075F-0631-4602-9D3B-B4D8B816E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9AC5FC62-A93F-49FE-B735-D4E1A9003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BE93FB97-014B-4CA8-9A44-F5C8E07F8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0729539219150499</c:v>
                </c:pt>
                <c:pt idx="1">
                  <c:v>-0.007295392191505004</c:v>
                </c:pt>
                <c:pt idx="2">
                  <c:v>0.0</c:v>
                </c:pt>
                <c:pt idx="3">
                  <c:v>1.0</c:v>
                </c:pt>
              </c:numCache>
            </c:numRef>
          </c:xVal>
          <c:yVal>
            <c:numRef>
              <c:f>Sheet1!$B$2:$B$5</c:f>
              <c:numCache>
                <c:formatCode>General</c:formatCode>
                <c:ptCount val="4"/>
                <c:pt idx="0">
                  <c:v>0.0368145315196291</c:v>
                </c:pt>
                <c:pt idx="1">
                  <c:v>-0.03681453151962913</c:v>
                </c:pt>
                <c:pt idx="2">
                  <c:v>1.0</c:v>
                </c:pt>
                <c:pt idx="3">
                  <c:v>0.0</c:v>
                </c:pt>
              </c:numCache>
            </c:numRef>
          </c:yVal>
          <c:bubbleSize>
            <c:numRef>
              <c:f>Sheet1!$C$2:$C$5</c:f>
              <c:numCache>
                <c:formatCode>General</c:formatCode>
                <c:ptCount val="4"/>
                <c:pt idx="0">
                  <c:v>546873.0</c:v>
                </c:pt>
                <c:pt idx="1">
                  <c:v>65305.0</c:v>
                </c:pt>
                <c:pt idx="2">
                  <c:v>20.0</c:v>
                </c:pt>
                <c:pt idx="3">
                  <c:v>1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2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2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E9E4CEF7-C847-431F-A455-33B250226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1C8BA0A6-91B0-4819-94B5-299015850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CC6841EC-DD4A-46B6-8379-C652A749F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97F983D-F1F0-473E-A193-83DC3111F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FAA2310-23D8-4F33-8F45-4822EFA99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B254FC52-78A8-489C-BD89-4DADD7F73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043053F7-73F3-49B0-B00A-343B45459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D4DB8AF4-9713-48FC-A596-AD703C667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4AB3A500-5F9E-4FC3-A9A2-20B8FBE94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F2F7762A-AA99-4F8B-9FFA-76F199D71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35530886-FC79-466B-AC16-4E9639B56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EB2D06EA-DFEB-46FA-90D2-352AD0CB2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3F57D028-DBE2-4FBE-AA7D-D580CB119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3E8E636F-0C8E-4FA8-991B-87E171237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39A782B2-4E19-49FA-8B2B-00F0DF372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32186221-D81B-490F-A048-604E651F4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E94BC841-4382-4726-8601-5DA390887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8C63835B-64D8-488B-B597-91C0B89F7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1D5B7EE3-23BA-4D11-BF31-2A36AB73F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4C1446C8-6F95-4BC4-8C9B-2C57536FD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07CF09CC-D11C-4EFE-8B1B-6829AE533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CE5D484E-E593-42C0-A3E5-F44C50710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532011B6-9305-4693-B3D7-A09333A9C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8E169A2A-A353-4839-9D89-49FC742E5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5217FF3C-FD9D-4B63-BCE8-7B1F3BF8F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0C9FD448-9D08-46F8-8203-2C994E19B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82E3235A-2D02-4DEB-B2C8-D5DEB153B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B5F50990-E76C-4333-BC35-36A737767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BF301C46-D430-4A48-99B1-8270E3B1E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84395029-6367-4537-802E-1AB6D228C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DE97CA1F-5F5B-43B6-A059-F241F1B57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3E6B11A5-B82F-450D-B475-98768BA5F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0729539219150499</c:v>
                </c:pt>
                <c:pt idx="1">
                  <c:v>-0.007295392191505004</c:v>
                </c:pt>
                <c:pt idx="2">
                  <c:v>0.0</c:v>
                </c:pt>
              </c:numCache>
            </c:numRef>
          </c:xVal>
          <c:yVal>
            <c:numRef>
              <c:f>Sheet1!$B$2:$B$4</c:f>
              <c:numCache>
                <c:formatCode>General</c:formatCode>
                <c:ptCount val="3"/>
                <c:pt idx="0">
                  <c:v>0.0368145315196291</c:v>
                </c:pt>
                <c:pt idx="1">
                  <c:v>-0.03681453151962913</c:v>
                </c:pt>
                <c:pt idx="2">
                  <c:v>1.0</c:v>
                </c:pt>
              </c:numCache>
            </c:numRef>
          </c:yVal>
          <c:bubbleSize>
            <c:numRef>
              <c:f>Sheet1!$C$2:$C$4</c:f>
              <c:numCache>
                <c:formatCode>General</c:formatCode>
                <c:ptCount val="3"/>
                <c:pt idx="0">
                  <c:v>546873.0</c:v>
                </c:pt>
                <c:pt idx="1">
                  <c:v>65305.0</c:v>
                </c:pt>
                <c:pt idx="2">
                  <c:v>3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333333333333333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4.625929269271485e-18"/>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EEB97D07-9BBC-4288-BA41-DB8067531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96ED87ED-C8C8-459E-AEF5-F03A836A3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B2529D73-2AC6-4ABC-A7EC-2AA50488F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D625B041-C69E-4B69-9499-803F77DA6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7718776D-339C-484A-8AB1-652D56E2F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9D860EA0-D3B9-43B8-9D6D-E44AA3839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812B371D-7B2B-4A06-BA68-00BB23BC7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BC5B986E-21D0-435C-8A86-801D92168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6C98423-4626-445C-A8B5-67DBE41BA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AAD58F9-EE20-4CED-B440-01C160D62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9416A06-9391-4A9C-9DBC-F6328304E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990CFA93-B440-415E-9263-5741AB2CE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18E4FCF8-3C26-465C-8F40-ABF24CD1E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E7584787-0781-464C-A1D8-49B3CA797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BDC9BE3D-BEB0-4345-92EF-358052D0C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FFCB03D8-E6C7-4632-AE48-FD72E8C33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9AFA37F5-A598-43FD-A1CB-650C2FA29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0FB5AA47-5366-4641-AB3A-93D9BE4A7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75E6A038-2F73-4ABC-A498-5339EF87B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3459C7B5-DBDC-4478-9CF4-96DCFB414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5ADE5B68-9E31-454A-82E1-9AB92184E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r>
                      <a:t>22</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2F69497-D4F6-466F-B843-A167E6D15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D9ECA760-48A7-47B2-B8A8-1D799C5BC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38987906-A85E-4353-8032-984BEE981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69E575CB-B1AA-4A96-A33D-D848272EC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A19ED6FD-7907-4BA0-899D-7CBEFBCC8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4BEFBC8F-594A-404A-A80C-7C01D26D2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7A69E601-FBD8-44D8-88E0-01935034F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0AAE2E9C-2B23-4B2C-951C-A1343CC29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8036485D-A3CE-4FA7-8B7B-916B007C3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F0645AD-74B4-43E8-8AD1-0A156B46B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46F2987E-5FB6-4EEA-8EE7-EC8E3B5D8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3</c:f>
              <c:numCache>
                <c:formatCode>General</c:formatCode>
                <c:ptCount val="22"/>
                <c:pt idx="0">
                  <c:v>0.01398141752416232</c:v>
                </c:pt>
                <c:pt idx="1">
                  <c:v>-0.0487841862081817</c:v>
                </c:pt>
                <c:pt idx="2">
                  <c:v>0.00837464198320298</c:v>
                </c:pt>
                <c:pt idx="3">
                  <c:v>0.00884991615175068</c:v>
                </c:pt>
                <c:pt idx="4">
                  <c:v>-0.0003600767561339341</c:v>
                </c:pt>
                <c:pt idx="5">
                  <c:v>-0.01018274088011474</c:v>
                </c:pt>
                <c:pt idx="6">
                  <c:v>-0.009802563688465785</c:v>
                </c:pt>
                <c:pt idx="7">
                  <c:v>0.0022194796517677334</c:v>
                </c:pt>
                <c:pt idx="8">
                  <c:v>-0.013784926869851985</c:v>
                </c:pt>
                <c:pt idx="9">
                  <c:v>0.049549799791306276</c:v>
                </c:pt>
                <c:pt idx="10">
                  <c:v>-0.0012323789032130765</c:v>
                </c:pt>
                <c:pt idx="11">
                  <c:v>0.045018900362109183</c:v>
                </c:pt>
                <c:pt idx="12">
                  <c:v>-0.002893558838998762</c:v>
                </c:pt>
                <c:pt idx="13">
                  <c:v>-0.0006415673848113868</c:v>
                </c:pt>
                <c:pt idx="14">
                  <c:v>-0.023917868978645666</c:v>
                </c:pt>
                <c:pt idx="15">
                  <c:v>-0.00285425594537312</c:v>
                </c:pt>
                <c:pt idx="16">
                  <c:v>-0.0074059047369193845</c:v>
                </c:pt>
                <c:pt idx="17">
                  <c:v>-0.011224798977423185</c:v>
                </c:pt>
                <c:pt idx="18">
                  <c:v>-0.0019766975669796294</c:v>
                </c:pt>
                <c:pt idx="19">
                  <c:v>-0.000840379207528991</c:v>
                </c:pt>
                <c:pt idx="20">
                  <c:v>-0.006768899536028482</c:v>
                </c:pt>
                <c:pt idx="21">
                  <c:v>-0.0001755949217261989</c:v>
                </c:pt>
              </c:numCache>
            </c:numRef>
          </c:xVal>
          <c:yVal>
            <c:numRef>
              <c:f>Sheet1!$B$2:$B$23</c:f>
              <c:numCache>
                <c:formatCode>General</c:formatCode>
                <c:ptCount val="22"/>
                <c:pt idx="0">
                  <c:v>0.02787454255624805</c:v>
                </c:pt>
                <c:pt idx="1">
                  <c:v>-0.04166529843923639</c:v>
                </c:pt>
                <c:pt idx="2">
                  <c:v>0.003974954227343119</c:v>
                </c:pt>
                <c:pt idx="3">
                  <c:v>0.03163550381215008</c:v>
                </c:pt>
                <c:pt idx="4">
                  <c:v>-0.005938133372789853</c:v>
                </c:pt>
                <c:pt idx="5">
                  <c:v>-0.013971628325722893</c:v>
                </c:pt>
                <c:pt idx="6">
                  <c:v>-0.005021153255357874</c:v>
                </c:pt>
                <c:pt idx="7">
                  <c:v>0.0038357433448503453</c:v>
                </c:pt>
                <c:pt idx="8">
                  <c:v>-0.03125756915145417</c:v>
                </c:pt>
                <c:pt idx="9">
                  <c:v>0.014813948784457645</c:v>
                </c:pt>
                <c:pt idx="10">
                  <c:v>0.0003203233466910725</c:v>
                </c:pt>
                <c:pt idx="11">
                  <c:v>0.056779819603144</c:v>
                </c:pt>
                <c:pt idx="12">
                  <c:v>-0.0006851114260434318</c:v>
                </c:pt>
                <c:pt idx="13">
                  <c:v>0.010816422581861433</c:v>
                </c:pt>
                <c:pt idx="14">
                  <c:v>-0.02412264943922876</c:v>
                </c:pt>
                <c:pt idx="15">
                  <c:v>-0.004065956440341481</c:v>
                </c:pt>
                <c:pt idx="16">
                  <c:v>-0.003683177404222422</c:v>
                </c:pt>
                <c:pt idx="17">
                  <c:v>-0.010407602429608288</c:v>
                </c:pt>
                <c:pt idx="18">
                  <c:v>0.0003417833139745252</c:v>
                </c:pt>
                <c:pt idx="19">
                  <c:v>-0.0014056793134584293</c:v>
                </c:pt>
                <c:pt idx="20">
                  <c:v>-0.0069093159932149435</c:v>
                </c:pt>
                <c:pt idx="21">
                  <c:v>-0.0004892107111289466</c:v>
                </c:pt>
              </c:numCache>
            </c:numRef>
          </c:yVal>
          <c:bubbleSize>
            <c:numRef>
              <c:f>Sheet1!$C$2:$C$23</c:f>
              <c:numCache>
                <c:formatCode>General</c:formatCode>
                <c:ptCount val="22"/>
                <c:pt idx="0">
                  <c:v>97079232.0</c:v>
                </c:pt>
                <c:pt idx="1">
                  <c:v>49120114.0</c:v>
                </c:pt>
                <c:pt idx="2">
                  <c:v>42521627.0</c:v>
                </c:pt>
                <c:pt idx="3">
                  <c:v>33106360.0</c:v>
                </c:pt>
                <c:pt idx="4">
                  <c:v>27479128.0</c:v>
                </c:pt>
                <c:pt idx="5">
                  <c:v>25593231.0</c:v>
                </c:pt>
                <c:pt idx="6">
                  <c:v>20486742.0</c:v>
                </c:pt>
                <c:pt idx="7">
                  <c:v>15916285.0</c:v>
                </c:pt>
                <c:pt idx="8">
                  <c:v>6653449.0</c:v>
                </c:pt>
                <c:pt idx="9">
                  <c:v>5024744.0</c:v>
                </c:pt>
                <c:pt idx="10">
                  <c:v>4938733.0</c:v>
                </c:pt>
                <c:pt idx="11">
                  <c:v>4734424.0</c:v>
                </c:pt>
                <c:pt idx="12">
                  <c:v>3405165.0</c:v>
                </c:pt>
                <c:pt idx="13">
                  <c:v>3086949.0</c:v>
                </c:pt>
                <c:pt idx="14">
                  <c:v>3047997.0</c:v>
                </c:pt>
                <c:pt idx="15">
                  <c:v>2930758.0</c:v>
                </c:pt>
                <c:pt idx="16">
                  <c:v>2755491.0</c:v>
                </c:pt>
                <c:pt idx="17">
                  <c:v>2043351.0</c:v>
                </c:pt>
                <c:pt idx="18">
                  <c:v>1641180.0</c:v>
                </c:pt>
                <c:pt idx="19">
                  <c:v>978660.0</c:v>
                </c:pt>
                <c:pt idx="20">
                  <c:v>660643.0</c:v>
                </c:pt>
                <c:pt idx="21">
                  <c:v>140487.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3.502526676874532e-0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675101997095311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C5C092E2-9B5A-46B1-98E1-460F7CA79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FCFD031-2571-44FC-866F-4D148D283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14D09359-4624-4118-BB03-6E4694696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B62A04A-D77D-425E-ACF5-D03106A39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2FE09203-709E-4726-8B07-C2754A50F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CE4230BE-BDE7-4CE4-B814-3B38922CE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3F01D3A4-97CC-463A-A257-8C3F9B7E0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2DD83DF8-0997-456A-BECF-6D31C8354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A0948687-91FF-442D-BA6E-1E65F5F4C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D65318A-D0F0-439F-B1C2-9C2089FC3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58A9F25A-A926-4E0B-994A-29AE5997A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C27302B-AB41-4C83-9446-3AEB97EDF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23676A0A-6706-4650-B33C-259E2807D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1F8E4E8C-228E-4048-BEAE-097BEA895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E301CC3D-5CB7-45D8-8C1A-FF4308E60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5C273E7-EAFD-41AA-A5FD-7EE371CB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756A0D98-56A6-4B91-BA69-86B5CA6F9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BC4DE665-8A49-4B55-BF0B-72970FC6C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96EEE200-89B7-4CFE-80E0-7228346CD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70510BA7-35D4-4803-88E0-EC477BD9F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65EB425F-4522-473C-B76F-34D3F47A9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D47CC3F3-59B7-46D7-8CFD-1CEB2356A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8C5BC3ED-33EB-4771-B68B-66BE81897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79E5801-D50D-4A8E-81CF-D8111A5EA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8713FF9F-7FFE-4189-B6C6-C16FE762D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58D69F92-0511-43BA-B6E5-21EA8B7F7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83C9BF8C-E447-43AE-9172-8EA5DBCC3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D15540C-FEF9-4031-A87E-3E564F329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B3DFE30E-781E-4FB5-9C5D-EE6EAB352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2E444D3-3605-4598-AE29-373B4BD6F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91D70DA1-970D-4471-928C-1B13BD4C9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FC737DE-8F28-4B87-B027-957FB28A3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042138181454493884</c:v>
                </c:pt>
                <c:pt idx="1">
                  <c:v>-0.017515209896594414</c:v>
                </c:pt>
                <c:pt idx="2">
                  <c:v>0.001995126471725478</c:v>
                </c:pt>
                <c:pt idx="3">
                  <c:v>-0.05993144759912514</c:v>
                </c:pt>
                <c:pt idx="4">
                  <c:v>0.03548096667935807</c:v>
                </c:pt>
                <c:pt idx="5">
                  <c:v>0.008270165634656101</c:v>
                </c:pt>
                <c:pt idx="6">
                  <c:v>0.006263399378135914</c:v>
                </c:pt>
                <c:pt idx="7">
                  <c:v>0.033320433108199744</c:v>
                </c:pt>
                <c:pt idx="8">
                  <c:v>-0.014466840468187109</c:v>
                </c:pt>
                <c:pt idx="9">
                  <c:v>-0.028279548480506844</c:v>
                </c:pt>
                <c:pt idx="10">
                  <c:v>0.0028365363716040953</c:v>
                </c:pt>
                <c:pt idx="11">
                  <c:v>-0.0054236283228505655</c:v>
                </c:pt>
                <c:pt idx="12">
                  <c:v>-0.006607238016193437</c:v>
                </c:pt>
                <c:pt idx="13">
                  <c:v>0.0003921142107385332</c:v>
                </c:pt>
                <c:pt idx="14">
                  <c:v>0.0003853779630263682</c:v>
                </c:pt>
              </c:numCache>
            </c:numRef>
          </c:xVal>
          <c:yVal>
            <c:numRef>
              <c:f>Sheet1!$B$2:$B$16</c:f>
              <c:numCache>
                <c:formatCode>General</c:formatCode>
                <c:ptCount val="15"/>
                <c:pt idx="0">
                  <c:v>0.09150531853765909</c:v>
                </c:pt>
                <c:pt idx="1">
                  <c:v>-0.01750187406762549</c:v>
                </c:pt>
                <c:pt idx="2">
                  <c:v>-0.006800638714661883</c:v>
                </c:pt>
                <c:pt idx="3">
                  <c:v>-0.07515030806616464</c:v>
                </c:pt>
                <c:pt idx="4">
                  <c:v>0.0440939080395546</c:v>
                </c:pt>
                <c:pt idx="5">
                  <c:v>0.05538201352769595</c:v>
                </c:pt>
                <c:pt idx="6">
                  <c:v>-0.009115237607519422</c:v>
                </c:pt>
                <c:pt idx="7">
                  <c:v>0.007952101727619738</c:v>
                </c:pt>
                <c:pt idx="8">
                  <c:v>-0.007746577625165202</c:v>
                </c:pt>
                <c:pt idx="9">
                  <c:v>-0.05479241679939839</c:v>
                </c:pt>
                <c:pt idx="10">
                  <c:v>0.00337782862877517</c:v>
                </c:pt>
                <c:pt idx="11">
                  <c:v>-0.001893153766836797</c:v>
                </c:pt>
                <c:pt idx="12">
                  <c:v>-0.01676317744589286</c:v>
                </c:pt>
                <c:pt idx="13">
                  <c:v>-0.01870793630894077</c:v>
                </c:pt>
                <c:pt idx="14">
                  <c:v>-0.00010434518497951981</c:v>
                </c:pt>
              </c:numCache>
            </c:numRef>
          </c:yVal>
          <c:bubbleSize>
            <c:numRef>
              <c:f>Sheet1!$C$2:$C$16</c:f>
              <c:numCache>
                <c:formatCode>General</c:formatCode>
                <c:ptCount val="15"/>
                <c:pt idx="0">
                  <c:v>34473971.0</c:v>
                </c:pt>
                <c:pt idx="1">
                  <c:v>18246255.0</c:v>
                </c:pt>
                <c:pt idx="2">
                  <c:v>13976973.0</c:v>
                </c:pt>
                <c:pt idx="3">
                  <c:v>11512148.0</c:v>
                </c:pt>
                <c:pt idx="4">
                  <c:v>11044229.0</c:v>
                </c:pt>
                <c:pt idx="5">
                  <c:v>10717932.0</c:v>
                </c:pt>
                <c:pt idx="6">
                  <c:v>5372837.0</c:v>
                </c:pt>
                <c:pt idx="7">
                  <c:v>4808664.0</c:v>
                </c:pt>
                <c:pt idx="8">
                  <c:v>3525210.0</c:v>
                </c:pt>
                <c:pt idx="9">
                  <c:v>3419346.0</c:v>
                </c:pt>
                <c:pt idx="10">
                  <c:v>2460291.0</c:v>
                </c:pt>
                <c:pt idx="11">
                  <c:v>1324983.0</c:v>
                </c:pt>
                <c:pt idx="12">
                  <c:v>1129722.0</c:v>
                </c:pt>
                <c:pt idx="13">
                  <c:v>473452.0</c:v>
                </c:pt>
                <c:pt idx="14">
                  <c:v>28916.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417633008392029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7.610743410128814e-0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307764C5-4C32-47B0-8BB3-5C829530F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84B662D2-9C68-4013-BB53-3C264C368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FAF588C5-9034-411F-88BA-5864B8D6B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3BDAC47B-4758-4B96-B916-C06466C65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C7B41E4C-5E2F-458B-999F-989168A9D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9C675D7A-0073-43C4-BCF5-E009B512D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25E3F24E-0303-46F3-AB5E-789DE16D1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23152D47-62D0-42FC-82F0-C048603B4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76D86835-BA52-42BF-8AE4-E914C5336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55B40E32-425A-4AF2-B70C-A5E554F5D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706F4265-10B8-4DE6-8747-FB37A3457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1FD9141-EC36-47A2-B6CC-2ED550B2E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4AD767CF-53D2-42AC-946E-907450E9B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D0E21BBD-B8AC-4136-AEAD-AEDEB66E7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E831E905-7376-4197-83D3-931B567C4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4D6AE39C-C353-416C-9E8C-B22153398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2CE28FCA-45E2-44DB-80AA-C6CE768C6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374AA9F-F3AB-4A7C-A106-CDF98DCF2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1EC42BBE-F05A-45A2-A31A-F4001792C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945E8D96-5AC0-4117-8FFF-5DDBC3D1C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F7A1CA93-99E9-45B0-90A1-024C619FF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46CDED10-E402-4B32-9534-08D8BE3EA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A2F87AC-D02B-4800-8F19-950FB20DE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72FEDAB-46AA-428C-8BD5-AF5AC94D9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7115D0B9-B5B4-4BD8-AE5A-9C3A32DE7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04A7C2F8-1D8D-465D-AC44-A65B00ABE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6739A9F6-EB57-4894-BEE8-033D90776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CEBCF909-1056-4CCA-BB37-02A5204F3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22490EA3-E007-4EF0-AAD4-C6237741E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955B4166-56CF-4B30-9F3F-4C807BDD7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CE67025-367C-46CB-80E9-CAF1FF08B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9EFE2163-AD9B-49E4-B643-395975E2B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05926439428960872</c:v>
                </c:pt>
                <c:pt idx="1">
                  <c:v>-0.009721421565286936</c:v>
                </c:pt>
                <c:pt idx="2">
                  <c:v>-0.0007039505291915743</c:v>
                </c:pt>
                <c:pt idx="3">
                  <c:v>0.020773474236056924</c:v>
                </c:pt>
                <c:pt idx="4">
                  <c:v>0.003863246885854002</c:v>
                </c:pt>
                <c:pt idx="5">
                  <c:v>-0.012067507977565284</c:v>
                </c:pt>
                <c:pt idx="6">
                  <c:v>0.03172800990458083</c:v>
                </c:pt>
                <c:pt idx="7">
                  <c:v>-0.01485253849078938</c:v>
                </c:pt>
                <c:pt idx="8">
                  <c:v>-0.005541585487804812</c:v>
                </c:pt>
                <c:pt idx="9">
                  <c:v>0.006335666226422072</c:v>
                </c:pt>
                <c:pt idx="10">
                  <c:v>-0.015011449645734531</c:v>
                </c:pt>
                <c:pt idx="11">
                  <c:v>-0.007013764949111587</c:v>
                </c:pt>
                <c:pt idx="12">
                  <c:v>0.0012089859042298395</c:v>
                </c:pt>
                <c:pt idx="13">
                  <c:v>-0.004175035793722283</c:v>
                </c:pt>
                <c:pt idx="14">
                  <c:v>0.012046615612699096</c:v>
                </c:pt>
                <c:pt idx="15">
                  <c:v>-0.006368833161077076</c:v>
                </c:pt>
                <c:pt idx="16">
                  <c:v>0.010766937217643352</c:v>
                </c:pt>
                <c:pt idx="17">
                  <c:v>-0.004177928380095144</c:v>
                </c:pt>
                <c:pt idx="18">
                  <c:v>-0.0012411524896922127</c:v>
                </c:pt>
                <c:pt idx="19">
                  <c:v>0.00010855937542954275</c:v>
                </c:pt>
                <c:pt idx="20">
                  <c:v>-0.0007120696200172486</c:v>
                </c:pt>
                <c:pt idx="21">
                  <c:v>-0.003594236627894907</c:v>
                </c:pt>
                <c:pt idx="22">
                  <c:v>-0.037719003004130336</c:v>
                </c:pt>
                <c:pt idx="23">
                  <c:v>-0.009156310111003943</c:v>
                </c:pt>
                <c:pt idx="24">
                  <c:v>0.026416860498749667</c:v>
                </c:pt>
                <c:pt idx="25">
                  <c:v>0.007458500313654498</c:v>
                </c:pt>
                <c:pt idx="26">
                  <c:v>-0.009579431069787515</c:v>
                </c:pt>
                <c:pt idx="27">
                  <c:v>-0.003676272953175061</c:v>
                </c:pt>
                <c:pt idx="28">
                  <c:v>-0.000906712729010781</c:v>
                </c:pt>
                <c:pt idx="29">
                  <c:v>-0.012758903788682947</c:v>
                </c:pt>
              </c:numCache>
            </c:numRef>
          </c:xVal>
          <c:yVal>
            <c:numRef>
              <c:f>Sheet1!$B$2:$B$31</c:f>
              <c:numCache>
                <c:formatCode>General</c:formatCode>
                <c:ptCount val="30"/>
                <c:pt idx="0">
                  <c:v>0.015441053551459527</c:v>
                </c:pt>
                <c:pt idx="1">
                  <c:v>-0.009350958253797143</c:v>
                </c:pt>
                <c:pt idx="2">
                  <c:v>0.002685117147242011</c:v>
                </c:pt>
                <c:pt idx="3">
                  <c:v>0.023027763904077722</c:v>
                </c:pt>
                <c:pt idx="4">
                  <c:v>0.004904065195450169</c:v>
                </c:pt>
                <c:pt idx="5">
                  <c:v>-0.03762973932135688</c:v>
                </c:pt>
                <c:pt idx="6">
                  <c:v>0.055718437895756395</c:v>
                </c:pt>
                <c:pt idx="7">
                  <c:v>0.013713714826641688</c:v>
                </c:pt>
                <c:pt idx="8">
                  <c:v>-0.01125425841622879</c:v>
                </c:pt>
                <c:pt idx="9">
                  <c:v>0.005511728478507193</c:v>
                </c:pt>
                <c:pt idx="10">
                  <c:v>-0.018164247090292768</c:v>
                </c:pt>
                <c:pt idx="11">
                  <c:v>-0.006654847802039995</c:v>
                </c:pt>
                <c:pt idx="12">
                  <c:v>0.0026183152805326557</c:v>
                </c:pt>
                <c:pt idx="13">
                  <c:v>-0.005216001219923855</c:v>
                </c:pt>
                <c:pt idx="14">
                  <c:v>0.016210923091939167</c:v>
                </c:pt>
                <c:pt idx="15">
                  <c:v>-0.008967586566553346</c:v>
                </c:pt>
                <c:pt idx="16">
                  <c:v>0.02334582075771785</c:v>
                </c:pt>
                <c:pt idx="17">
                  <c:v>-0.005760928587442347</c:v>
                </c:pt>
                <c:pt idx="18">
                  <c:v>0.0001061326371388921</c:v>
                </c:pt>
                <c:pt idx="19">
                  <c:v>-0.0024735903841294794</c:v>
                </c:pt>
                <c:pt idx="20">
                  <c:v>0.002147398887857234</c:v>
                </c:pt>
                <c:pt idx="21">
                  <c:v>-0.00564765042014127</c:v>
                </c:pt>
                <c:pt idx="22">
                  <c:v>-0.07324950862126023</c:v>
                </c:pt>
                <c:pt idx="23">
                  <c:v>-0.011334650283964506</c:v>
                </c:pt>
                <c:pt idx="24">
                  <c:v>0.04641586910719833</c:v>
                </c:pt>
                <c:pt idx="25">
                  <c:v>0.005279301096437802</c:v>
                </c:pt>
                <c:pt idx="26">
                  <c:v>-0.015321623262680023</c:v>
                </c:pt>
                <c:pt idx="27">
                  <c:v>-0.004475402533201951</c:v>
                </c:pt>
                <c:pt idx="28">
                  <c:v>-0.0027388093150283645</c:v>
                </c:pt>
                <c:pt idx="29">
                  <c:v>-0.012019577102832045</c:v>
                </c:pt>
              </c:numCache>
            </c:numRef>
          </c:yVal>
          <c:bubbleSize>
            <c:numRef>
              <c:f>Sheet1!$C$2:$C$31</c:f>
              <c:numCache>
                <c:formatCode>General</c:formatCode>
                <c:ptCount val="30"/>
                <c:pt idx="0">
                  <c:v>48922879.0</c:v>
                </c:pt>
                <c:pt idx="1">
                  <c:v>34052672.0</c:v>
                </c:pt>
                <c:pt idx="2">
                  <c:v>31571816.0</c:v>
                </c:pt>
                <c:pt idx="3">
                  <c:v>31103571.0</c:v>
                </c:pt>
                <c:pt idx="4">
                  <c:v>28040490.0</c:v>
                </c:pt>
                <c:pt idx="5">
                  <c:v>27111829.0</c:v>
                </c:pt>
                <c:pt idx="6">
                  <c:v>16500732.0</c:v>
                </c:pt>
                <c:pt idx="7">
                  <c:v>14642767.0</c:v>
                </c:pt>
                <c:pt idx="8">
                  <c:v>14426543.0</c:v>
                </c:pt>
                <c:pt idx="9">
                  <c:v>14119206.0</c:v>
                </c:pt>
                <c:pt idx="10">
                  <c:v>13996100.0</c:v>
                </c:pt>
                <c:pt idx="11">
                  <c:v>12862065.0</c:v>
                </c:pt>
                <c:pt idx="12">
                  <c:v>12561969.0</c:v>
                </c:pt>
                <c:pt idx="13">
                  <c:v>11054068.0</c:v>
                </c:pt>
                <c:pt idx="14">
                  <c:v>9818022.0</c:v>
                </c:pt>
                <c:pt idx="15">
                  <c:v>9788941.0</c:v>
                </c:pt>
                <c:pt idx="16">
                  <c:v>9394215.0</c:v>
                </c:pt>
                <c:pt idx="17">
                  <c:v>8787118.0</c:v>
                </c:pt>
                <c:pt idx="18">
                  <c:v>8568392.0</c:v>
                </c:pt>
                <c:pt idx="19">
                  <c:v>6857887.0</c:v>
                </c:pt>
                <c:pt idx="20">
                  <c:v>6814609.0</c:v>
                </c:pt>
                <c:pt idx="21">
                  <c:v>6165328.0</c:v>
                </c:pt>
                <c:pt idx="22">
                  <c:v>6036417.0</c:v>
                </c:pt>
                <c:pt idx="23">
                  <c:v>5582922.0</c:v>
                </c:pt>
                <c:pt idx="24">
                  <c:v>4810817.0</c:v>
                </c:pt>
                <c:pt idx="25">
                  <c:v>4614425.0</c:v>
                </c:pt>
                <c:pt idx="26">
                  <c:v>4603727.0</c:v>
                </c:pt>
                <c:pt idx="27">
                  <c:v>4547304.0</c:v>
                </c:pt>
                <c:pt idx="28">
                  <c:v>4394025.0</c:v>
                </c:pt>
                <c:pt idx="29">
                  <c:v>4286968.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43779124409721194"/>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10781604256497623"/>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8B1059FC-C5E8-433F-8DDC-C41CD8CA3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D00E2B7-901D-44A0-BD50-EE94998AF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11E8CA06-4C54-43DD-87CA-37EE50C0C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6C48B12-77BE-46C2-9040-614976D52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4A12838-85DB-4DAF-B868-637D15868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68D63C3D-2A6B-4305-AAEA-0D66004A8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03D233BB-A7A3-46FD-A63D-E11B726DB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355BB4F-B93B-4265-9254-145CD642F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3388CA6-8B1B-47AD-BFF6-7C8A5CE4B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628E5B0-3FBC-485F-853B-3F587D8BA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B72936C1-4DC8-4378-B2B8-80723EF1F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ABC4B6D1-88EE-4E6F-A2EE-4DBD3374E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601BF1D0-8A3C-4405-8A5A-5C58AEBC5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262C80D3-B4B6-4AA6-B646-751857F55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A58358AA-31BE-4C61-A986-2756434EC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B7F5D1C6-E036-4F6A-B1D3-374B388A5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30EF5789-49E1-44DC-A5CA-FB710F8FF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4DBC829-BF9E-4D53-9D58-0E573C40E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3824A6D2-9902-4B71-9903-F0954B5E1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AF8129E-A6FB-4540-B96B-7A1375ADC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655B9D8F-FDE7-4DAD-8352-F964FC2D2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C33EEA10-D11D-45AA-AE01-B084534B6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F2FE10AE-C94F-4073-A425-D34D422E1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1D94EFF7-4F5D-44F8-BF36-ACFECADF3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C30674C-27E3-4014-82E6-C5571B714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4AE015CB-2CB2-4EAB-9E4C-D89FD5A92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AE0FB37E-A087-477A-AF26-CBD81E44F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F25A3653-74EC-491F-9F4C-7D96338FD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595C75EC-3490-47C8-804B-463278AD3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AFCAEB33-F8DF-486D-B7E5-64AB26639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774A140B-D8CD-4505-9428-E6F9195CB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FD5171FA-BE08-4A70-A56C-A06242934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7.467185883594518e-05</c:v>
                </c:pt>
                <c:pt idx="1">
                  <c:v>0.00784071662900003</c:v>
                </c:pt>
                <c:pt idx="2">
                  <c:v>-3.316693465500731e-05</c:v>
                </c:pt>
                <c:pt idx="3">
                  <c:v>-0.012835690612943249</c:v>
                </c:pt>
                <c:pt idx="4">
                  <c:v>-0.01909750692998191</c:v>
                </c:pt>
                <c:pt idx="5">
                  <c:v>-0.004887105413739538</c:v>
                </c:pt>
                <c:pt idx="6">
                  <c:v>-0.012491796407333916</c:v>
                </c:pt>
                <c:pt idx="7">
                  <c:v>0.00044077772405011484</c:v>
                </c:pt>
                <c:pt idx="8">
                  <c:v>-0.027326324848984118</c:v>
                </c:pt>
                <c:pt idx="9">
                  <c:v>0.006004463513297552</c:v>
                </c:pt>
                <c:pt idx="10">
                  <c:v>-0.007771660661093076</c:v>
                </c:pt>
                <c:pt idx="11">
                  <c:v>0.03295805465446494</c:v>
                </c:pt>
                <c:pt idx="12">
                  <c:v>0.0037164781343355727</c:v>
                </c:pt>
                <c:pt idx="13">
                  <c:v>-0.011844383282269472</c:v>
                </c:pt>
                <c:pt idx="14">
                  <c:v>0.00120955703734444</c:v>
                </c:pt>
                <c:pt idx="15">
                  <c:v>-0.013549198233079651</c:v>
                </c:pt>
                <c:pt idx="16">
                  <c:v>0.009502167504349512</c:v>
                </c:pt>
                <c:pt idx="17">
                  <c:v>0.001849357347316033</c:v>
                </c:pt>
                <c:pt idx="18">
                  <c:v>0.0017269729000294887</c:v>
                </c:pt>
                <c:pt idx="19">
                  <c:v>-0.01628574607317257</c:v>
                </c:pt>
                <c:pt idx="20">
                  <c:v>0.0009196739433343128</c:v>
                </c:pt>
                <c:pt idx="21">
                  <c:v>0.00010855937542954275</c:v>
                </c:pt>
                <c:pt idx="22">
                  <c:v>0.0005096596049800894</c:v>
                </c:pt>
                <c:pt idx="23">
                  <c:v>0.041664870670006834</c:v>
                </c:pt>
                <c:pt idx="24">
                  <c:v>0.031197888577556215</c:v>
                </c:pt>
                <c:pt idx="25">
                  <c:v>0.012171160751195897</c:v>
                </c:pt>
                <c:pt idx="26">
                  <c:v>0.002796312685535377</c:v>
                </c:pt>
                <c:pt idx="27">
                  <c:v>0.009141071406435164</c:v>
                </c:pt>
                <c:pt idx="28">
                  <c:v>0.004662685872834513</c:v>
                </c:pt>
                <c:pt idx="29">
                  <c:v>-0.01187317714021327</c:v>
                </c:pt>
              </c:numCache>
            </c:numRef>
          </c:xVal>
          <c:yVal>
            <c:numRef>
              <c:f>Sheet1!$B$2:$B$31</c:f>
              <c:numCache>
                <c:formatCode>General</c:formatCode>
                <c:ptCount val="30"/>
                <c:pt idx="0">
                  <c:v>-0.0025735361155646563</c:v>
                </c:pt>
                <c:pt idx="1">
                  <c:v>0.022071636383213356</c:v>
                </c:pt>
                <c:pt idx="2">
                  <c:v>-0.00345585808804616</c:v>
                </c:pt>
                <c:pt idx="3">
                  <c:v>-0.0065489529223237836</c:v>
                </c:pt>
                <c:pt idx="4">
                  <c:v>-0.03748487866702649</c:v>
                </c:pt>
                <c:pt idx="5">
                  <c:v>-0.003068602332066628</c:v>
                </c:pt>
                <c:pt idx="6">
                  <c:v>-0.012780524325098241</c:v>
                </c:pt>
                <c:pt idx="7">
                  <c:v>0.0022055542080387583</c:v>
                </c:pt>
                <c:pt idx="8">
                  <c:v>-0.010410621824799321</c:v>
                </c:pt>
                <c:pt idx="9">
                  <c:v>0.006881619784017218</c:v>
                </c:pt>
                <c:pt idx="10">
                  <c:v>-0.011408431346019432</c:v>
                </c:pt>
                <c:pt idx="11">
                  <c:v>0.04834700131947203</c:v>
                </c:pt>
                <c:pt idx="12">
                  <c:v>0.002074174150927817</c:v>
                </c:pt>
                <c:pt idx="13">
                  <c:v>-0.018050036449892837</c:v>
                </c:pt>
                <c:pt idx="14">
                  <c:v>0.0026183153302670806</c:v>
                </c:pt>
                <c:pt idx="15">
                  <c:v>-0.01347313469224573</c:v>
                </c:pt>
                <c:pt idx="16">
                  <c:v>0.012906106308271867</c:v>
                </c:pt>
                <c:pt idx="17">
                  <c:v>0.0019106082022970934</c:v>
                </c:pt>
                <c:pt idx="18">
                  <c:v>-5.913300002594046e-05</c:v>
                </c:pt>
                <c:pt idx="19">
                  <c:v>-0.020196012121842924</c:v>
                </c:pt>
                <c:pt idx="20">
                  <c:v>-0.0009014898136193751</c:v>
                </c:pt>
                <c:pt idx="21">
                  <c:v>-0.0024735903841294794</c:v>
                </c:pt>
                <c:pt idx="22">
                  <c:v>-0.0037099961623425354</c:v>
                </c:pt>
                <c:pt idx="23">
                  <c:v>0.04365878076014196</c:v>
                </c:pt>
                <c:pt idx="24">
                  <c:v>0.005869485082716376</c:v>
                </c:pt>
                <c:pt idx="25">
                  <c:v>0.043367613979370084</c:v>
                </c:pt>
                <c:pt idx="26">
                  <c:v>-0.002725768381460136</c:v>
                </c:pt>
                <c:pt idx="27">
                  <c:v>-0.020065491551150255</c:v>
                </c:pt>
                <c:pt idx="28">
                  <c:v>0.018794552957688962</c:v>
                </c:pt>
                <c:pt idx="29">
                  <c:v>-0.011582565984123175</c:v>
                </c:pt>
              </c:numCache>
            </c:numRef>
          </c:yVal>
          <c:bubbleSize>
            <c:numRef>
              <c:f>Sheet1!$C$2:$C$31</c:f>
              <c:numCache>
                <c:formatCode>General</c:formatCode>
                <c:ptCount val="30"/>
                <c:pt idx="0">
                  <c:v>39541381.0</c:v>
                </c:pt>
                <c:pt idx="1">
                  <c:v>32805670.0</c:v>
                </c:pt>
                <c:pt idx="2">
                  <c:v>23908147.0</c:v>
                </c:pt>
                <c:pt idx="3">
                  <c:v>19989240.0</c:v>
                </c:pt>
                <c:pt idx="4">
                  <c:v>19651008.0</c:v>
                </c:pt>
                <c:pt idx="5">
                  <c:v>17868677.0</c:v>
                </c:pt>
                <c:pt idx="6">
                  <c:v>16987791.0</c:v>
                </c:pt>
                <c:pt idx="7">
                  <c:v>16826471.0</c:v>
                </c:pt>
                <c:pt idx="8">
                  <c:v>15659832.0</c:v>
                </c:pt>
                <c:pt idx="9">
                  <c:v>15230669.0</c:v>
                </c:pt>
                <c:pt idx="10">
                  <c:v>14952323.0</c:v>
                </c:pt>
                <c:pt idx="11">
                  <c:v>13801196.0</c:v>
                </c:pt>
                <c:pt idx="12">
                  <c:v>12868216.0</c:v>
                </c:pt>
                <c:pt idx="13">
                  <c:v>12852430.0</c:v>
                </c:pt>
                <c:pt idx="14">
                  <c:v>12561943.0</c:v>
                </c:pt>
                <c:pt idx="15">
                  <c:v>12403131.0</c:v>
                </c:pt>
                <c:pt idx="16">
                  <c:v>9324088.0</c:v>
                </c:pt>
                <c:pt idx="17">
                  <c:v>8175989.0</c:v>
                </c:pt>
                <c:pt idx="18">
                  <c:v>7603025.0</c:v>
                </c:pt>
                <c:pt idx="19">
                  <c:v>7489606.0</c:v>
                </c:pt>
                <c:pt idx="20">
                  <c:v>6886973.0</c:v>
                </c:pt>
                <c:pt idx="21">
                  <c:v>6857887.0</c:v>
                </c:pt>
                <c:pt idx="22">
                  <c:v>6682276.0</c:v>
                </c:pt>
                <c:pt idx="23">
                  <c:v>5099235.0</c:v>
                </c:pt>
                <c:pt idx="24">
                  <c:v>4995620.0</c:v>
                </c:pt>
                <c:pt idx="25">
                  <c:v>4609168.0</c:v>
                </c:pt>
                <c:pt idx="26">
                  <c:v>4375519.0</c:v>
                </c:pt>
                <c:pt idx="27">
                  <c:v>4352317.0</c:v>
                </c:pt>
                <c:pt idx="28">
                  <c:v>4281240.0</c:v>
                </c:pt>
                <c:pt idx="29">
                  <c:v>4280165.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991227476821516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10116666645064638"/>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A4E52EE0-C220-4FE3-8BFA-9ADC42345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C9CB88EF-BF44-4383-9734-086E62095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0AD57860-A420-4C32-A6D7-5D370F3F4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2BBF839-58D5-4EE0-B236-03F951EAE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F9B75B4-3C02-44FE-9A97-E86EF5308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E3035AD-57B7-4975-8DEC-0BB7B38DE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04549FB7-3006-45FB-803A-AA7052434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E9310BD5-D83C-4722-800C-FE4EC6024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59056AF2-F463-4CBD-8B9B-A8FDFEEA0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2929047-9094-46B7-A00B-22929D567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46D95DDC-B073-4C90-8B9A-DAACDE0FD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418CA2C1-48BD-4A5A-99A8-81B231CF4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903D6631-9A72-41C1-BC2F-3FD3AF0A1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2B394F5E-5768-4205-982D-B60CCA236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027AB54-D211-4BE0-A819-1EA052CFF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262CD6E1-72F1-4048-B750-996B9FFF1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49FAC3C5-721A-4093-9EA6-1FDBB43F0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6030F12E-3D8A-4EE6-9552-44092B317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96E7194-CAAA-4685-97B8-CEA561E2A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C444D7D2-783A-4FB5-B13A-854373695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B8BADED9-4BC1-4083-84F8-2D02FA2EE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588F4A4A-A5AB-4489-903B-4FD44ECE8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EC5014A2-A0B1-4005-8059-0642E2001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A03187F7-85AF-4777-8A3A-131DFE78F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18D6FABE-6332-4A21-9216-9B7A7E6C5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2F53BA2-F30A-4FA6-92BB-DE3EEA6A5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7DC56694-467C-46C2-887B-646D371F7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DAAA2A06-8A83-42AE-A972-2A00891A1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92EA60E0-94D3-40CC-9F5C-147144A65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2B06666A-D9CE-46B8-B83A-398ADFFA5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53F69D90-EE3A-4524-8DD4-13A80E073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7101EF31-B299-4BD5-B38A-BE085AC71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0914823080023408</c:v>
                </c:pt>
                <c:pt idx="1">
                  <c:v>0.0018196542187531584</c:v>
                </c:pt>
                <c:pt idx="2">
                  <c:v>-0.0054937840471268595</c:v>
                </c:pt>
                <c:pt idx="3">
                  <c:v>-0.0093002787572075</c:v>
                </c:pt>
                <c:pt idx="4">
                  <c:v>0.000536320623216513</c:v>
                </c:pt>
                <c:pt idx="5">
                  <c:v>0.01651662182664644</c:v>
                </c:pt>
                <c:pt idx="6">
                  <c:v>0.0008499927731590654</c:v>
                </c:pt>
                <c:pt idx="7">
                  <c:v>-0.006892889240089503</c:v>
                </c:pt>
                <c:pt idx="8">
                  <c:v>-0.0003779772457890053</c:v>
                </c:pt>
                <c:pt idx="9">
                  <c:v>-0.0019889447376659868</c:v>
                </c:pt>
                <c:pt idx="10">
                  <c:v>-0.0032411478051867088</c:v>
                </c:pt>
                <c:pt idx="11">
                  <c:v>0.0007611722789117792</c:v>
                </c:pt>
                <c:pt idx="12">
                  <c:v>0.0016930570944475633</c:v>
                </c:pt>
                <c:pt idx="13">
                  <c:v>-0.0005074479767511529</c:v>
                </c:pt>
              </c:numCache>
            </c:numRef>
          </c:xVal>
          <c:yVal>
            <c:numRef>
              <c:f>Sheet1!$B$2:$B$15</c:f>
              <c:numCache>
                <c:formatCode>General</c:formatCode>
                <c:ptCount val="14"/>
                <c:pt idx="0">
                  <c:v>0.018185433713880317</c:v>
                </c:pt>
                <c:pt idx="1">
                  <c:v>0.012016934448510708</c:v>
                </c:pt>
                <c:pt idx="2">
                  <c:v>-0.011773324582593295</c:v>
                </c:pt>
                <c:pt idx="3">
                  <c:v>-0.008379361832431417</c:v>
                </c:pt>
                <c:pt idx="4">
                  <c:v>0.0003999371889534739</c:v>
                </c:pt>
                <c:pt idx="5">
                  <c:v>0.007506398986240802</c:v>
                </c:pt>
                <c:pt idx="6">
                  <c:v>-0.0005072024815804405</c:v>
                </c:pt>
                <c:pt idx="7">
                  <c:v>-0.008250108241067797</c:v>
                </c:pt>
                <c:pt idx="8">
                  <c:v>-0.0014375471476156948</c:v>
                </c:pt>
                <c:pt idx="9">
                  <c:v>-0.0005693860033964271</c:v>
                </c:pt>
                <c:pt idx="10">
                  <c:v>-0.003177441141379002</c:v>
                </c:pt>
                <c:pt idx="11">
                  <c:v>-0.0005183882516838429</c:v>
                </c:pt>
                <c:pt idx="12">
                  <c:v>0.003036687343467896</c:v>
                </c:pt>
                <c:pt idx="13">
                  <c:v>-0.0004800413916951373</c:v>
                </c:pt>
              </c:numCache>
            </c:numRef>
          </c:yVal>
          <c:bubbleSize>
            <c:numRef>
              <c:f>Sheet1!$C$2:$C$15</c:f>
              <c:numCache>
                <c:formatCode>General</c:formatCode>
                <c:ptCount val="14"/>
                <c:pt idx="0">
                  <c:v>346486656.0</c:v>
                </c:pt>
                <c:pt idx="1">
                  <c:v>179837926.0</c:v>
                </c:pt>
                <c:pt idx="2">
                  <c:v>108918098.0</c:v>
                </c:pt>
                <c:pt idx="3">
                  <c:v>85383871.0</c:v>
                </c:pt>
                <c:pt idx="4">
                  <c:v>66176351.0</c:v>
                </c:pt>
                <c:pt idx="5">
                  <c:v>64515870.0</c:v>
                </c:pt>
                <c:pt idx="6">
                  <c:v>63416541.0</c:v>
                </c:pt>
                <c:pt idx="7">
                  <c:v>49434474.0</c:v>
                </c:pt>
                <c:pt idx="8">
                  <c:v>22945959.0</c:v>
                </c:pt>
                <c:pt idx="9">
                  <c:v>22258012.0</c:v>
                </c:pt>
                <c:pt idx="10">
                  <c:v>12260292.0</c:v>
                </c:pt>
                <c:pt idx="11">
                  <c:v>3383886.0</c:v>
                </c:pt>
                <c:pt idx="12">
                  <c:v>2058385.0</c:v>
                </c:pt>
                <c:pt idx="13">
                  <c:v>259199.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43232790054358164"/>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251612843253706"/>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1278933A-9FB3-4C79-AB67-B7F3AE832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550F543D-7D9B-4CF7-9EFA-D52078DBB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F33C3705-8336-4482-A13C-8FE044FE3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E01FFA59-DB60-444E-9B3C-A34A7BFBA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BDA0FE7C-FCB5-4C07-8910-567DCC71F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75B3C575-D6F6-4961-A5DD-A6098D1CB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0D18F36-B65B-457C-A0FB-597D297EF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CB6A927-F4C5-4F28-9470-4C536CBE6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84AFD4E2-AEFD-45FE-9434-988CB4FB0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1AD0A57A-B349-4D45-AFFA-311CDC718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7C3FAC98-9C3F-489F-BDF2-BFC8332EE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6E544E42-CAF6-4922-A04C-806B61B00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69928F0F-29E0-44A0-B89A-2DFE2C40A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1F629EE2-45FC-4524-A494-5A87EFA4E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E4998730-6F17-4A38-ABD3-990C95EED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CDEFB86C-21EE-40DF-88E3-7AAE5D25A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BD5690A-CBBF-43D4-9311-65B4A9D08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4214DC5F-D392-43FE-B689-C2519446A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476C220E-E1DB-4B8E-8AE1-CC5825C4C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39DB4B66-7D13-4B19-9806-5DE5491E2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459F1DD4-8747-45FF-BD6A-32990D6C4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F5D5CAF7-7518-4D1F-AA8C-318360F7E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3B2E413B-FD31-41A3-9388-6D9623146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4A31A1AF-D9EB-41C5-8DBE-B2E14995B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4C12522E-34A2-4CA0-8BC4-538CF3545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85B8AB60-F279-4777-86DC-637C7CDA9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25F31FC4-306E-4A5A-8799-CD2BAEE87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89CEE1A7-92ED-4FA2-B3BD-D65EA0741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0FE7391C-D58A-4118-BA55-B0FAA57C8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9FD5117E-7DDB-4366-B325-DCF835C9C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DAB7F680-C3F9-4133-89FE-1842B3390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A8F370E3-C262-43B0-A219-0B8359DA2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020553035133539344</c:v>
                </c:pt>
                <c:pt idx="1">
                  <c:v>0.03172800990458083</c:v>
                </c:pt>
                <c:pt idx="2">
                  <c:v>-0.017446678743918725</c:v>
                </c:pt>
                <c:pt idx="3">
                  <c:v>0.031197888577556215</c:v>
                </c:pt>
                <c:pt idx="4">
                  <c:v>0.003620767294478168</c:v>
                </c:pt>
                <c:pt idx="5">
                  <c:v>-0.012758903788682947</c:v>
                </c:pt>
                <c:pt idx="6">
                  <c:v>-0.003146763486251869</c:v>
                </c:pt>
                <c:pt idx="7">
                  <c:v>-0.006780661132128357</c:v>
                </c:pt>
                <c:pt idx="8">
                  <c:v>0.00032227964919166047</c:v>
                </c:pt>
                <c:pt idx="9">
                  <c:v>0.0026295982690303105</c:v>
                </c:pt>
                <c:pt idx="10">
                  <c:v>0.0039814850461007915</c:v>
                </c:pt>
                <c:pt idx="11">
                  <c:v>-0.004387294879720794</c:v>
                </c:pt>
              </c:numCache>
            </c:numRef>
          </c:xVal>
          <c:yVal>
            <c:numRef>
              <c:f>Sheet1!$B$2:$B$13</c:f>
              <c:numCache>
                <c:formatCode>General</c:formatCode>
                <c:ptCount val="12"/>
                <c:pt idx="0">
                  <c:v>-0.029418505506521586</c:v>
                </c:pt>
                <c:pt idx="1">
                  <c:v>0.055718437895756395</c:v>
                </c:pt>
                <c:pt idx="2">
                  <c:v>-0.02021571714854152</c:v>
                </c:pt>
                <c:pt idx="3">
                  <c:v>0.005869485082716376</c:v>
                </c:pt>
                <c:pt idx="4">
                  <c:v>0.0021115447146341434</c:v>
                </c:pt>
                <c:pt idx="5">
                  <c:v>-0.012019577102832045</c:v>
                </c:pt>
                <c:pt idx="6">
                  <c:v>-0.003641233068473658</c:v>
                </c:pt>
                <c:pt idx="7">
                  <c:v>-0.0037749469291097557</c:v>
                </c:pt>
                <c:pt idx="8">
                  <c:v>0.0030718764565826513</c:v>
                </c:pt>
                <c:pt idx="9">
                  <c:v>0.0006773346034315087</c:v>
                </c:pt>
                <c:pt idx="10">
                  <c:v>0.00604211239986698</c:v>
                </c:pt>
                <c:pt idx="11">
                  <c:v>-0.004057813299434437</c:v>
                </c:pt>
              </c:numCache>
            </c:numRef>
          </c:yVal>
          <c:bubbleSize>
            <c:numRef>
              <c:f>Sheet1!$C$2:$C$13</c:f>
              <c:numCache>
                <c:formatCode>General</c:formatCode>
                <c:ptCount val="12"/>
                <c:pt idx="0">
                  <c:v>28422643.0</c:v>
                </c:pt>
                <c:pt idx="1">
                  <c:v>16500732.0</c:v>
                </c:pt>
                <c:pt idx="2">
                  <c:v>7489918.0</c:v>
                </c:pt>
                <c:pt idx="3">
                  <c:v>4995620.0</c:v>
                </c:pt>
                <c:pt idx="4">
                  <c:v>4887241.0</c:v>
                </c:pt>
                <c:pt idx="5">
                  <c:v>4286968.0</c:v>
                </c:pt>
                <c:pt idx="6">
                  <c:v>4123276.0</c:v>
                </c:pt>
                <c:pt idx="7">
                  <c:v>1950313.0</c:v>
                </c:pt>
                <c:pt idx="8">
                  <c:v>1658769.0</c:v>
                </c:pt>
                <c:pt idx="9">
                  <c:v>530941.0</c:v>
                </c:pt>
                <c:pt idx="10">
                  <c:v>324121.0</c:v>
                </c:pt>
                <c:pt idx="11">
                  <c:v>86012.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3.0249841506254423e-0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700557631391328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34C363DE-28B0-483A-A1A5-8901CB858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EADDBC8B-F45A-4F8D-851E-AD3D42443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4A7E3C2A-6044-42A8-9135-C03D82FAE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8E415388-7FB2-4F0A-9862-862698231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3B56BA5-F610-4E34-97E4-11EA82C4E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C4E2C2A7-8983-4277-B700-0C1565589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82D68510-2DCC-4CF4-B8C9-1AD0C0759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692A9BB-F6D8-41A0-A46A-2CB138B57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F93A40D6-E861-4909-AB78-D6B562169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7C8A3A12-A947-49E3-BF9D-4A5984CA9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3C43C6C9-5FCA-4071-9690-C2C8265E3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1BAE668D-191B-49E3-9962-5BC6B70E1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F925B981-CFF3-4B5E-B1B1-087ACEAE6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91689160-91BF-4081-BA2A-79EE160D9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8302657-CF6A-496D-9C57-57DEEF3A8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ACBC572F-1C5B-499E-A50C-15EBE3274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A6A5D3FA-0863-4A4A-AB6A-1DC11655D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5B67F266-22AA-480C-8ABA-8793D68E4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6F16180-FC96-4E9B-9DF3-15DAF56CE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926038E8-2BE8-4309-AD0F-CDFE151DD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C0ADC810-A426-47EB-A950-5FFF27420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9F68B090-CAD0-4AB7-A33C-684B3D046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44CA364C-CD5E-43B7-BCDF-E4C952CD9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629C963-5B73-429B-877E-B51CD3CD7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8954475F-EF94-45A4-81F3-CD62BA71F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C622A70-B20A-44B6-9DB6-5700CBF49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F16A2173-19C0-4B69-B942-1F8DC13D1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3BC310D-3357-4331-86D7-C2166122F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64C6CCA9-B88F-4C4E-B040-DA9D6F337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286B5DC-8283-4176-945B-B125BD257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5C8E9401-797B-4408-87D4-4EDE04DCF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68DCA4EA-D2AA-4D46-86A4-96E9437F9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08343695960246117</c:v>
                </c:pt>
                <c:pt idx="1">
                  <c:v>0.009935025062507985</c:v>
                </c:pt>
                <c:pt idx="2">
                  <c:v>-0.003961856335054498</c:v>
                </c:pt>
                <c:pt idx="3">
                  <c:v>-1.736353868619922e-05</c:v>
                </c:pt>
                <c:pt idx="4">
                  <c:v>-0.0005376315627648801</c:v>
                </c:pt>
                <c:pt idx="5">
                  <c:v>-0.011270965001299878</c:v>
                </c:pt>
                <c:pt idx="6">
                  <c:v>0.0010681042825320328</c:v>
                </c:pt>
                <c:pt idx="7">
                  <c:v>-0.012014698335172859</c:v>
                </c:pt>
                <c:pt idx="8">
                  <c:v>0.009603201185976528</c:v>
                </c:pt>
                <c:pt idx="9">
                  <c:v>0.006237158717958685</c:v>
                </c:pt>
                <c:pt idx="10">
                  <c:v>0.0009195353430684061</c:v>
                </c:pt>
                <c:pt idx="11">
                  <c:v>-0.0037445869536729508</c:v>
                </c:pt>
                <c:pt idx="12">
                  <c:v>0.0004901297662426705</c:v>
                </c:pt>
                <c:pt idx="13">
                  <c:v>-0.00012810155042881872</c:v>
                </c:pt>
              </c:numCache>
            </c:numRef>
          </c:xVal>
          <c:yVal>
            <c:numRef>
              <c:f>Sheet1!$B$2:$B$15</c:f>
              <c:numCache>
                <c:formatCode>General</c:formatCode>
                <c:ptCount val="14"/>
                <c:pt idx="0">
                  <c:v>0.01175358411476013</c:v>
                </c:pt>
                <c:pt idx="1">
                  <c:v>0.022527706362271</c:v>
                </c:pt>
                <c:pt idx="2">
                  <c:v>0.0011876831572911195</c:v>
                </c:pt>
                <c:pt idx="3">
                  <c:v>-0.0031804866669975784</c:v>
                </c:pt>
                <c:pt idx="4">
                  <c:v>0.0014201726486993416</c:v>
                </c:pt>
                <c:pt idx="5">
                  <c:v>-0.007269852814247878</c:v>
                </c:pt>
                <c:pt idx="6">
                  <c:v>0.0013080298171212895</c:v>
                </c:pt>
                <c:pt idx="7">
                  <c:v>-0.014017407254869045</c:v>
                </c:pt>
                <c:pt idx="8">
                  <c:v>0.0006328987459434422</c:v>
                </c:pt>
                <c:pt idx="9">
                  <c:v>0.0008603741396596074</c:v>
                </c:pt>
                <c:pt idx="10">
                  <c:v>-0.004794847609981992</c:v>
                </c:pt>
                <c:pt idx="11">
                  <c:v>-0.0037255381155525073</c:v>
                </c:pt>
                <c:pt idx="12">
                  <c:v>0.0004886824856565908</c:v>
                </c:pt>
                <c:pt idx="13">
                  <c:v>-7.267942090747525e-06</c:v>
                </c:pt>
              </c:numCache>
            </c:numRef>
          </c:yVal>
          <c:bubbleSize>
            <c:numRef>
              <c:f>Sheet1!$C$2:$C$15</c:f>
              <c:numCache>
                <c:formatCode>General</c:formatCode>
                <c:ptCount val="14"/>
                <c:pt idx="0">
                  <c:v>3402528.0</c:v>
                </c:pt>
                <c:pt idx="1">
                  <c:v>2697267.0</c:v>
                </c:pt>
                <c:pt idx="2">
                  <c:v>2253992.0</c:v>
                </c:pt>
                <c:pt idx="3">
                  <c:v>1573978.0</c:v>
                </c:pt>
                <c:pt idx="4">
                  <c:v>1071286.0</c:v>
                </c:pt>
                <c:pt idx="5">
                  <c:v>1012403.0</c:v>
                </c:pt>
                <c:pt idx="6">
                  <c:v>990210.0</c:v>
                </c:pt>
                <c:pt idx="7">
                  <c:v>887095.0</c:v>
                </c:pt>
                <c:pt idx="8">
                  <c:v>443197.0</c:v>
                </c:pt>
                <c:pt idx="9">
                  <c:v>437865.0</c:v>
                </c:pt>
                <c:pt idx="10">
                  <c:v>310545.0</c:v>
                </c:pt>
                <c:pt idx="11">
                  <c:v>166410.0</c:v>
                </c:pt>
                <c:pt idx="12">
                  <c:v>14184.0</c:v>
                </c:pt>
                <c:pt idx="13">
                  <c:v>53.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513123647690198"/>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35154621724659577"/>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135777985296147</c:v>
                </c:pt>
                <c:pt idx="1">
                  <c:v>0.437691219084844</c:v>
                </c:pt>
                <c:pt idx="2">
                  <c:v>0.0486892647752544</c:v>
                </c:pt>
                <c:pt idx="3">
                  <c:v>4.171761028692089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759220127992476</c:v>
                </c:pt>
                <c:pt idx="1">
                  <c:v>-0.11652781511178734</c:v>
                </c:pt>
                <c:pt idx="2">
                  <c:v>0.040589727657906936</c:v>
                </c:pt>
                <c:pt idx="3">
                  <c:v>1.6074654632764672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221719471534149</c:v>
                </c:pt>
                <c:pt idx="1">
                  <c:v>0.17606436064553188</c:v>
                </c:pt>
                <c:pt idx="2">
                  <c:v>0.13567561669859668</c:v>
                </c:pt>
                <c:pt idx="3">
                  <c:v>0.12594931631254833</c:v>
                </c:pt>
                <c:pt idx="4">
                  <c:v>0.09140585137619978</c:v>
                </c:pt>
                <c:pt idx="5">
                  <c:v>0.0486892647752544</c:v>
                </c:pt>
                <c:pt idx="6">
                  <c:v>1.6045234725738804e-06</c:v>
                </c:pt>
                <c:pt idx="7">
                  <c:v>4.20385149814356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716027372105873</c:v>
                </c:pt>
                <c:pt idx="1">
                  <c:v>-0.08555635108161985</c:v>
                </c:pt>
                <c:pt idx="2">
                  <c:v>0.01392783172795728</c:v>
                </c:pt>
                <c:pt idx="3">
                  <c:v>2.5782143075282922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6624905920446561</c:v>
                </c:pt>
                <c:pt idx="1">
                  <c:v>-0.043627518965590695</c:v>
                </c:pt>
                <c:pt idx="2">
                  <c:v>-0.02969485689698459</c:v>
                </c:pt>
                <c:pt idx="3">
                  <c:v>-0.01220728184895406</c:v>
                </c:pt>
                <c:pt idx="4">
                  <c:v>0.0053536780061216455</c:v>
                </c:pt>
                <c:pt idx="5">
                  <c:v>0.01392783172795728</c:v>
                </c:pt>
                <c:pt idx="6">
                  <c:v>-2.5388206702241445e-05</c:v>
                </c:pt>
                <c:pt idx="7">
                  <c:v>2.4476979686977495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30165928921361</c:v>
                </c:pt>
                <c:pt idx="1">
                  <c:v>0.4287064149605887</c:v>
                </c:pt>
                <c:pt idx="2">
                  <c:v>0.07826464045153503</c:v>
                </c:pt>
                <c:pt idx="3">
                  <c:v>1.2351695740141803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4841860302679196</c:v>
                </c:pt>
                <c:pt idx="1">
                  <c:v>-0.002608229446006416</c:v>
                </c:pt>
                <c:pt idx="2">
                  <c:v>0.051015829672793035</c:v>
                </c:pt>
                <c:pt idx="3">
                  <c:v>1.1002800005299437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709799593736616</c:v>
                </c:pt>
                <c:pt idx="1">
                  <c:v>0.1741307158478969</c:v>
                </c:pt>
                <c:pt idx="2">
                  <c:v>0.16368520897860875</c:v>
                </c:pt>
                <c:pt idx="3">
                  <c:v>0.12203663351847452</c:v>
                </c:pt>
                <c:pt idx="4">
                  <c:v>0.09087760140809331</c:v>
                </c:pt>
                <c:pt idx="5">
                  <c:v>0.07826464045153503</c:v>
                </c:pt>
                <c:pt idx="6">
                  <c:v>1.2888725989713185e-05</c:v>
                </c:pt>
                <c:pt idx="7">
                  <c:v>1.2351695740141803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98530254411196</c:v>
                </c:pt>
                <c:pt idx="1">
                  <c:v>-0.024115320321196565</c:v>
                </c:pt>
                <c:pt idx="2">
                  <c:v>0.033968676604533024</c:v>
                </c:pt>
                <c:pt idx="3">
                  <c:v>-3.308422168825119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020971445216827478</c:v>
                </c:pt>
                <c:pt idx="1">
                  <c:v>0.025799116657508725</c:v>
                </c:pt>
                <c:pt idx="2">
                  <c:v>-0.031636487479080766</c:v>
                </c:pt>
                <c:pt idx="3">
                  <c:v>-0.009643310988951243</c:v>
                </c:pt>
                <c:pt idx="4">
                  <c:v>-0.01772555939095835</c:v>
                </c:pt>
                <c:pt idx="5">
                  <c:v>0.033968676604533024</c:v>
                </c:pt>
                <c:pt idx="6">
                  <c:v>-0.0005510959721400007</c:v>
                </c:pt>
                <c:pt idx="7">
                  <c:v>-1.6249787431094828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24282646886589</c:v>
                </c:pt>
                <c:pt idx="1">
                  <c:v>0.037571735311341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01157471597773796</c:v>
                </c:pt>
                <c:pt idx="1">
                  <c:v>0.000588889774581041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891899277766934</c:v>
                </c:pt>
                <c:pt idx="1">
                  <c:v>0.07323833691196564</c:v>
                </c:pt>
                <c:pt idx="2">
                  <c:v>0.037571735311341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3465969395785429</c:v>
                </c:pt>
                <c:pt idx="1">
                  <c:v>0.03572702585308068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10789803086981986</c:v>
                </c:pt>
                <c:pt idx="1">
                  <c:v>0.07323833691196564</c:v>
                </c:pt>
                <c:pt idx="2">
                  <c:v>0.03572702585308068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1378788941215</c:v>
                </c:pt>
                <c:pt idx="1">
                  <c:v>0.35680609507300975</c:v>
                </c:pt>
                <c:pt idx="2">
                  <c:v>0.1431193814535085</c:v>
                </c:pt>
                <c:pt idx="3">
                  <c:v>0.00869573453226675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12465077369643862</c:v>
                </c:pt>
                <c:pt idx="1">
                  <c:v>-0.038222047989197816</c:v>
                </c:pt>
                <c:pt idx="2">
                  <c:v>0.035317081440479466</c:v>
                </c:pt>
                <c:pt idx="3">
                  <c:v>0.00415147428568274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96865029266041</c:v>
                </c:pt>
                <c:pt idx="1">
                  <c:v>0.2550685931663055</c:v>
                </c:pt>
                <c:pt idx="2">
                  <c:v>0.1431193814535085</c:v>
                </c:pt>
                <c:pt idx="3">
                  <c:v>0.09162183350010418</c:v>
                </c:pt>
                <c:pt idx="4">
                  <c:v>0.05617989850185386</c:v>
                </c:pt>
                <c:pt idx="5">
                  <c:v>0.021567691407352117</c:v>
                </c:pt>
                <c:pt idx="6">
                  <c:v>0.014927458834296683</c:v>
                </c:pt>
                <c:pt idx="7">
                  <c:v>0.005816237244190077</c:v>
                </c:pt>
                <c:pt idx="8">
                  <c:v>0.003246215919011511</c:v>
                </c:pt>
                <c:pt idx="9">
                  <c:v>0.00876618704677349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18665806847282251</c:v>
                </c:pt>
                <c:pt idx="1">
                  <c:v>-0.08114851953018809</c:v>
                </c:pt>
                <c:pt idx="2">
                  <c:v>0.08169093590679291</c:v>
                </c:pt>
                <c:pt idx="3">
                  <c:v>0.00132416430812342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0157149433312529</c:v>
                </c:pt>
                <c:pt idx="1">
                  <c:v>-0.05452156163750055</c:v>
                </c:pt>
                <c:pt idx="2">
                  <c:v>0.08169093590679291</c:v>
                </c:pt>
                <c:pt idx="3">
                  <c:v>0.008326878298606524</c:v>
                </c:pt>
                <c:pt idx="4">
                  <c:v>0.0036037975759571836</c:v>
                </c:pt>
                <c:pt idx="5">
                  <c:v>-0.008421641886712412</c:v>
                </c:pt>
                <c:pt idx="6">
                  <c:v>-0.004409894326299827</c:v>
                </c:pt>
                <c:pt idx="7">
                  <c:v>-0.019408111536905415</c:v>
                </c:pt>
                <c:pt idx="8">
                  <c:v>0.002008892281272891</c:v>
                </c:pt>
                <c:pt idx="9">
                  <c:v>0.001287854758101219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654480681552465</c:v>
                </c:pt>
                <c:pt idx="1">
                  <c:v>0.16166406836631503</c:v>
                </c:pt>
                <c:pt idx="2">
                  <c:v>0.04663188421003794</c:v>
                </c:pt>
                <c:pt idx="3">
                  <c:v>0.0156422582883077</c:v>
                </c:pt>
                <c:pt idx="4">
                  <c:v>0.010613720980092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5860292040995885</c:v>
                </c:pt>
                <c:pt idx="1">
                  <c:v>0.049365548126548725</c:v>
                </c:pt>
                <c:pt idx="2">
                  <c:v>-0.0033901480426658456</c:v>
                </c:pt>
                <c:pt idx="3">
                  <c:v>0.013963297094235709</c:v>
                </c:pt>
                <c:pt idx="4">
                  <c:v>-0.001335776768159751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478464682908655</c:v>
                </c:pt>
                <c:pt idx="1">
                  <c:v>0.15341933364054738</c:v>
                </c:pt>
                <c:pt idx="2">
                  <c:v>0.12969580405716305</c:v>
                </c:pt>
                <c:pt idx="3">
                  <c:v>0.06414196528416799</c:v>
                </c:pt>
                <c:pt idx="4">
                  <c:v>0.04663188421003794</c:v>
                </c:pt>
                <c:pt idx="5">
                  <c:v>0.03196826430915199</c:v>
                </c:pt>
                <c:pt idx="6">
                  <c:v>0.0156422582883077</c:v>
                </c:pt>
                <c:pt idx="7">
                  <c:v>0.01065402191975847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4950572390147854</c:v>
                </c:pt>
                <c:pt idx="1">
                  <c:v>0.015197888468945653</c:v>
                </c:pt>
                <c:pt idx="2">
                  <c:v>-0.005557795694677632</c:v>
                </c:pt>
                <c:pt idx="3">
                  <c:v>0.006584924119305816</c:v>
                </c:pt>
                <c:pt idx="4">
                  <c:v>-0.001274444503426026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9629196666607007</c:v>
                </c:pt>
                <c:pt idx="1">
                  <c:v>0.013044327599412209</c:v>
                </c:pt>
                <c:pt idx="2">
                  <c:v>0.008679531729242546</c:v>
                </c:pt>
                <c:pt idx="3">
                  <c:v>-0.008366898143834511</c:v>
                </c:pt>
                <c:pt idx="4">
                  <c:v>-0.005557795694677632</c:v>
                </c:pt>
                <c:pt idx="5">
                  <c:v>0.0065183567397031315</c:v>
                </c:pt>
                <c:pt idx="6">
                  <c:v>0.006584924119305816</c:v>
                </c:pt>
                <c:pt idx="7">
                  <c:v>-0.001273249682544492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3516645423568545</c:v>
                </c:pt>
                <c:pt idx="1">
                  <c:v>0.24958272027384903</c:v>
                </c:pt>
                <c:pt idx="2">
                  <c:v>0.12150074432748814</c:v>
                </c:pt>
                <c:pt idx="3">
                  <c:v>0.08922907427618401</c:v>
                </c:pt>
                <c:pt idx="4">
                  <c:v>0.06245459543312149</c:v>
                </c:pt>
                <c:pt idx="5">
                  <c:v>0.011920154781768565</c:v>
                </c:pt>
                <c:pt idx="6">
                  <c:v>0.03014625667190328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296118932153599</c:v>
                </c:pt>
                <c:pt idx="1">
                  <c:v>0.03799926854213495</c:v>
                </c:pt>
                <c:pt idx="2">
                  <c:v>0.00811115614531921</c:v>
                </c:pt>
                <c:pt idx="3">
                  <c:v>0.0029268060323051764</c:v>
                </c:pt>
                <c:pt idx="4">
                  <c:v>-0.004355312601341019</c:v>
                </c:pt>
                <c:pt idx="5">
                  <c:v>0.002967835473466041</c:v>
                </c:pt>
                <c:pt idx="6">
                  <c:v>0.01531143572965163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8338722784940066</c:v>
                </c:pt>
                <c:pt idx="1">
                  <c:v>0.1236069659796718</c:v>
                </c:pt>
                <c:pt idx="2">
                  <c:v>0.12150074432748814</c:v>
                </c:pt>
                <c:pt idx="3">
                  <c:v>0.11536782931058293</c:v>
                </c:pt>
                <c:pt idx="4">
                  <c:v>0.08921918240360517</c:v>
                </c:pt>
                <c:pt idx="5">
                  <c:v>0.06245459543312149</c:v>
                </c:pt>
                <c:pt idx="6">
                  <c:v>0.05177922638628482</c:v>
                </c:pt>
                <c:pt idx="7">
                  <c:v>0.011920154781768565</c:v>
                </c:pt>
                <c:pt idx="8">
                  <c:v>0.010445388278146705</c:v>
                </c:pt>
                <c:pt idx="9">
                  <c:v>0.0303186852499297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068363039051757</c:v>
                </c:pt>
                <c:pt idx="1">
                  <c:v>0.007879942077505142</c:v>
                </c:pt>
                <c:pt idx="2">
                  <c:v>0.0001867586319327097</c:v>
                </c:pt>
                <c:pt idx="3">
                  <c:v>0.0028954202933418605</c:v>
                </c:pt>
                <c:pt idx="4">
                  <c:v>-0.0022676239612855406</c:v>
                </c:pt>
                <c:pt idx="5">
                  <c:v>-0.00034076181242771036</c:v>
                </c:pt>
                <c:pt idx="6">
                  <c:v>0.01232989516145108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8652229363231179</c:v>
                </c:pt>
                <c:pt idx="1">
                  <c:v>0.037195436439963175</c:v>
                </c:pt>
                <c:pt idx="2">
                  <c:v>0.0001867586319327097</c:v>
                </c:pt>
                <c:pt idx="3">
                  <c:v>-0.02758646535730294</c:v>
                </c:pt>
                <c:pt idx="4">
                  <c:v>0.0029485839176434797</c:v>
                </c:pt>
                <c:pt idx="5">
                  <c:v>-0.0022676239612855406</c:v>
                </c:pt>
                <c:pt idx="6">
                  <c:v>-0.01203140102728635</c:v>
                </c:pt>
                <c:pt idx="7">
                  <c:v>-0.00034076181242771036</c:v>
                </c:pt>
                <c:pt idx="8">
                  <c:v>-0.0016249451147339854</c:v>
                </c:pt>
                <c:pt idx="9">
                  <c:v>0.01217264764672836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373968503150526</c:v>
                </c:pt>
                <c:pt idx="1">
                  <c:v>0.155985552810711</c:v>
                </c:pt>
                <c:pt idx="2">
                  <c:v>0.0066175968742364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51643149340135475</c:v>
                </c:pt>
                <c:pt idx="1">
                  <c:v>0.05244155164837164</c:v>
                </c:pt>
                <c:pt idx="2">
                  <c:v>-0.00079840230823614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210522226133033</c:v>
                </c:pt>
                <c:pt idx="1">
                  <c:v>0.20732588933075502</c:v>
                </c:pt>
                <c:pt idx="2">
                  <c:v>0.1309607922717496</c:v>
                </c:pt>
                <c:pt idx="3">
                  <c:v>0.025024760538961407</c:v>
                </c:pt>
                <c:pt idx="4">
                  <c:v>0.008584745126284144</c:v>
                </c:pt>
                <c:pt idx="5">
                  <c:v>0.00705159011894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33025780843099595</c:v>
                </c:pt>
                <c:pt idx="1">
                  <c:v>0.03453575269648136</c:v>
                </c:pt>
                <c:pt idx="2">
                  <c:v>-0.001509971853381775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3264720186547443</c:v>
                </c:pt>
                <c:pt idx="1">
                  <c:v>-0.03624945822778969</c:v>
                </c:pt>
                <c:pt idx="2">
                  <c:v>0.019348623569721543</c:v>
                </c:pt>
                <c:pt idx="3">
                  <c:v>0.015187129126759803</c:v>
                </c:pt>
                <c:pt idx="4">
                  <c:v>2.3239034291517094e-05</c:v>
                </c:pt>
                <c:pt idx="5">
                  <c:v>-0.001574253689530566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4161928184302117</c:v>
                </c:pt>
                <c:pt idx="2">
                  <c:v>0.16038702948339015</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8431516113622832</c:v>
                </c:pt>
                <c:pt idx="1">
                  <c:v>0.08340397736604566</c:v>
                </c:pt>
                <c:pt idx="2">
                  <c:v>-0.015564576552824422</c:v>
                </c:pt>
                <c:pt idx="3">
                  <c:v>0.0</c:v>
                </c:pt>
                <c:pt idx="4">
                  <c:v>0.015421227622835286</c:v>
                </c:pt>
                <c:pt idx="5">
                  <c:v>0.02696983975631327</c:v>
                </c:pt>
                <c:pt idx="6">
                  <c:v>-0.009933064626412334</c:v>
                </c:pt>
                <c:pt idx="7">
                  <c:v>-0.1041405551773197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884278722109619</c:v>
                </c:pt>
                <c:pt idx="1">
                  <c:v>-0.02730114083951163</c:v>
                </c:pt>
                <c:pt idx="2">
                  <c:v>-0.0009894838955210872</c:v>
                </c:pt>
                <c:pt idx="3">
                  <c:v>0.13573621618938797</c:v>
                </c:pt>
                <c:pt idx="4">
                  <c:v>-0.002600503341420285</c:v>
                </c:pt>
                <c:pt idx="5">
                  <c:v>0.006338995281866704</c:v>
                </c:pt>
                <c:pt idx="6">
                  <c:v>-0.012243865748564613</c:v>
                </c:pt>
                <c:pt idx="7">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237197126820482</c:v>
                </c:pt>
                <c:pt idx="1">
                  <c:v>0.24103461033683185</c:v>
                </c:pt>
                <c:pt idx="2">
                  <c:v>0.15904266095140424</c:v>
                </c:pt>
                <c:pt idx="3">
                  <c:v>0.1124202424443169</c:v>
                </c:pt>
                <c:pt idx="4">
                  <c:v>0.011766876756729492</c:v>
                </c:pt>
                <c:pt idx="5">
                  <c:v>0.014021423155856754</c:v>
                </c:pt>
                <c:pt idx="6">
                  <c:v>0.0379944736728125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9798565260124104</c:v>
                </c:pt>
                <c:pt idx="1">
                  <c:v>-0.0009894838955210872</c:v>
                </c:pt>
                <c:pt idx="2">
                  <c:v>-0.02730114083951163</c:v>
                </c:pt>
                <c:pt idx="3">
                  <c:v>0.13573621618938797</c:v>
                </c:pt>
                <c:pt idx="4">
                  <c:v>0.05914286538014483</c:v>
                </c:pt>
                <c:pt idx="5">
                  <c:v>-0.002600503341420285</c:v>
                </c:pt>
                <c:pt idx="6">
                  <c:v>0.006338995281866704</c:v>
                </c:pt>
                <c:pt idx="7">
                  <c:v>-0.012243865748564613</c:v>
                </c:pt>
                <c:pt idx="8">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751870442276731</c:v>
                </c:pt>
                <c:pt idx="1">
                  <c:v>1.6955027274583517e-06</c:v>
                </c:pt>
                <c:pt idx="2">
                  <c:v>0.0248112602695994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066836471167044</c:v>
                </c:pt>
                <c:pt idx="1">
                  <c:v>-0.0004606596557755797</c:v>
                </c:pt>
                <c:pt idx="2">
                  <c:v>0.0211290243674459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460618679256662</c:v>
                </c:pt>
                <c:pt idx="1">
                  <c:v>0.3291251763020068</c:v>
                </c:pt>
                <c:pt idx="2">
                  <c:v>0.02481295577232692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11066251585481579</c:v>
                </c:pt>
                <c:pt idx="1">
                  <c:v>-0.00016566367223236464</c:v>
                </c:pt>
                <c:pt idx="2">
                  <c:v>0.01123191525771399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3455388335191034</c:v>
                </c:pt>
                <c:pt idx="1">
                  <c:v>-0.045620134937391976</c:v>
                </c:pt>
                <c:pt idx="2">
                  <c:v>0.01122631076411848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5173344978081658</c:v>
                </c:pt>
                <c:pt idx="1">
                  <c:v>-0.004441196898667565</c:v>
                </c:pt>
                <c:pt idx="2">
                  <c:v>0.003084456296186061</c:v>
                </c:pt>
                <c:pt idx="3">
                  <c:v>0.0009295460472152212</c:v>
                </c:pt>
                <c:pt idx="4">
                  <c:v>0.0014673039291518385</c:v>
                </c:pt>
                <c:pt idx="5">
                  <c:v>0.008209496391160587</c:v>
                </c:pt>
                <c:pt idx="6">
                  <c:v>-0.00673227126723800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69428809063287</c:v>
                </c:pt>
                <c:pt idx="1">
                  <c:v>0.11365605730592888</c:v>
                </c:pt>
                <c:pt idx="2">
                  <c:v>0.11102302800346908</c:v>
                </c:pt>
                <c:pt idx="3">
                  <c:v>0.0777164562223953</c:v>
                </c:pt>
                <c:pt idx="4">
                  <c:v>0.07599584185656255</c:v>
                </c:pt>
                <c:pt idx="5">
                  <c:v>0.07333482446336753</c:v>
                </c:pt>
                <c:pt idx="6">
                  <c:v>0.05680063020343664</c:v>
                </c:pt>
                <c:pt idx="7">
                  <c:v>0.03993021330892106</c:v>
                </c:pt>
                <c:pt idx="8">
                  <c:v>0.013984913080878361</c:v>
                </c:pt>
                <c:pt idx="9">
                  <c:v>0.080615154648711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57280436940989</c:v>
                </c:pt>
                <c:pt idx="1">
                  <c:v>-0.021917623935500313</c:v>
                </c:pt>
                <c:pt idx="2">
                  <c:v>-0.012583142352847687</c:v>
                </c:pt>
                <c:pt idx="3">
                  <c:v>0.004817625298511624</c:v>
                </c:pt>
                <c:pt idx="4">
                  <c:v>-0.0005040738875283866</c:v>
                </c:pt>
                <c:pt idx="5">
                  <c:v>0.007967562224640403</c:v>
                </c:pt>
                <c:pt idx="6">
                  <c:v>0.002646848283314477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807248739625755</c:v>
                </c:pt>
                <c:pt idx="1">
                  <c:v>0.4261478899802577</c:v>
                </c:pt>
                <c:pt idx="2">
                  <c:v>0.09228036437919031</c:v>
                </c:pt>
                <c:pt idx="3">
                  <c:v>0.00084687167797649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23093447988469684</c:v>
                </c:pt>
                <c:pt idx="1">
                  <c:v>-0.008638202576214282</c:v>
                </c:pt>
                <c:pt idx="2">
                  <c:v>-0.014389777550230534</c:v>
                </c:pt>
                <c:pt idx="3">
                  <c:v>-6.555350413555111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261478899802577</c:v>
                </c:pt>
                <c:pt idx="1">
                  <c:v>0.3721899817784701</c:v>
                </c:pt>
                <c:pt idx="2">
                  <c:v>0.10853408895456569</c:v>
                </c:pt>
                <c:pt idx="3">
                  <c:v>0.08949942306699599</c:v>
                </c:pt>
                <c:pt idx="4">
                  <c:v>0.0008463361916167255</c:v>
                </c:pt>
                <c:pt idx="5">
                  <c:v>0.00278228002809375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262042743139104</c:v>
                </c:pt>
                <c:pt idx="1">
                  <c:v>-0.01714841839653103</c:v>
                </c:pt>
                <c:pt idx="2">
                  <c:v>-0.015190920379504452</c:v>
                </c:pt>
                <c:pt idx="3">
                  <c:v>-0.000280798310601922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714841839653103</c:v>
                </c:pt>
                <c:pt idx="1">
                  <c:v>0.04888384000556584</c:v>
                </c:pt>
                <c:pt idx="2">
                  <c:v>-0.01626392545896084</c:v>
                </c:pt>
                <c:pt idx="3">
                  <c:v>-0.015465954192169284</c:v>
                </c:pt>
                <c:pt idx="4">
                  <c:v>-0.0002796788318660679</c:v>
                </c:pt>
                <c:pt idx="5">
                  <c:v>0.0002741368739613986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27170793605793275</c:v>
                </c:pt>
                <c:pt idx="1">
                  <c:v>-0.01246924722349381</c:v>
                </c:pt>
                <c:pt idx="2">
                  <c:v>0.004777564314663765</c:v>
                </c:pt>
                <c:pt idx="3">
                  <c:v>-0.013348073757842749</c:v>
                </c:pt>
                <c:pt idx="4">
                  <c:v>-3.316693465500731e-05</c:v>
                </c:pt>
                <c:pt idx="5">
                  <c:v>-0.007535038632698596</c:v>
                </c:pt>
                <c:pt idx="6">
                  <c:v>-0.00689636892028795</c:v>
                </c:pt>
                <c:pt idx="7">
                  <c:v>0.0012089859042298395</c:v>
                </c:pt>
                <c:pt idx="8">
                  <c:v>-0.0009991206560371127</c:v>
                </c:pt>
                <c:pt idx="9">
                  <c:v>0.00812367230032833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823015752799928</c:v>
                </c:pt>
                <c:pt idx="1">
                  <c:v>0.3171326832383457</c:v>
                </c:pt>
                <c:pt idx="2">
                  <c:v>0.10606933098681043</c:v>
                </c:pt>
                <c:pt idx="3">
                  <c:v>0.1032662214693824</c:v>
                </c:pt>
                <c:pt idx="4">
                  <c:v>0.091230189025468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187019811959954</c:v>
                </c:pt>
                <c:pt idx="1">
                  <c:v>0.38129801880400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27927475098149945</c:v>
                </c:pt>
                <c:pt idx="1">
                  <c:v>-0.279274263675337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187019811959954</c:v>
                </c:pt>
                <c:pt idx="1">
                  <c:v>0.38129444686914327</c:v>
                </c:pt>
                <c:pt idx="2">
                  <c:v>3.5719348613028856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3927921175767689</c:v>
                </c:pt>
                <c:pt idx="1">
                  <c:v>-0.392791553180255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3739676499462219</c:v>
                </c:pt>
                <c:pt idx="1">
                  <c:v>-0.03194782401851515</c:v>
                </c:pt>
                <c:pt idx="2">
                  <c:v>0.008977277524835778</c:v>
                </c:pt>
                <c:pt idx="3">
                  <c:v>0.019811571467412754</c:v>
                </c:pt>
                <c:pt idx="4">
                  <c:v>-0.000580701473195640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3927921175767689</c:v>
                </c:pt>
                <c:pt idx="1">
                  <c:v>0.38129444686914327</c:v>
                </c:pt>
                <c:pt idx="2">
                  <c:v>-0.774086000049398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17050376682301</c:v>
                </c:pt>
                <c:pt idx="1">
                  <c:v>0.27628291126118476</c:v>
                </c:pt>
                <c:pt idx="2">
                  <c:v>0.1032662214693824</c:v>
                </c:pt>
                <c:pt idx="3">
                  <c:v>0.09907048092537384</c:v>
                </c:pt>
                <c:pt idx="4">
                  <c:v>0.03873378983401164</c:v>
                </c:pt>
                <c:pt idx="5">
                  <c:v>0.03787354205634319</c:v>
                </c:pt>
                <c:pt idx="6">
                  <c:v>0.020047759153361246</c:v>
                </c:pt>
                <c:pt idx="7">
                  <c:v>0.007623511310780903</c:v>
                </c:pt>
                <c:pt idx="8">
                  <c:v>0.003863348047465926</c:v>
                </c:pt>
                <c:pt idx="9">
                  <c:v>0.111533398273865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8722886614365722</c:v>
                </c:pt>
                <c:pt idx="1">
                  <c:v>0.12116506771588367</c:v>
                </c:pt>
                <c:pt idx="2">
                  <c:v>0.006537786744779998</c:v>
                </c:pt>
                <c:pt idx="3">
                  <c:v>8.484102764061326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2496878606203279</c:v>
                </c:pt>
                <c:pt idx="1">
                  <c:v>-0.025745896256668455</c:v>
                </c:pt>
                <c:pt idx="2">
                  <c:v>0.0007781154354372008</c:v>
                </c:pt>
                <c:pt idx="3">
                  <c:v>-1.0052408014908999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8722886614365722</c:v>
                </c:pt>
                <c:pt idx="1">
                  <c:v>0.12116157631556924</c:v>
                </c:pt>
                <c:pt idx="2">
                  <c:v>0.004885237147954687</c:v>
                </c:pt>
                <c:pt idx="3">
                  <c:v>0.0016509435526806744</c:v>
                </c:pt>
                <c:pt idx="4">
                  <c:v>1.6060441446371236e-06</c:v>
                </c:pt>
                <c:pt idx="5">
                  <c:v>1.197550307848985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2085913219823554</c:v>
                </c:pt>
                <c:pt idx="1">
                  <c:v>-0.02604191971201847</c:v>
                </c:pt>
                <c:pt idx="2">
                  <c:v>0.005179555205360452</c:v>
                </c:pt>
                <c:pt idx="3">
                  <c:v>3.2323084224180012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085913219823554</c:v>
                </c:pt>
                <c:pt idx="1">
                  <c:v>-0.026045411112332897</c:v>
                </c:pt>
                <c:pt idx="2">
                  <c:v>0.0047816335686695416</c:v>
                </c:pt>
                <c:pt idx="3">
                  <c:v>0.00039855586845424784</c:v>
                </c:pt>
                <c:pt idx="4">
                  <c:v>-8.334424498240733e-08</c:v>
                </c:pt>
                <c:pt idx="5">
                  <c:v>6.1728212184923355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47817542629945586</c:v>
                </c:pt>
                <c:pt idx="1">
                  <c:v>0.002024648677520724</c:v>
                </c:pt>
                <c:pt idx="2">
                  <c:v>-0.0019544344305970768</c:v>
                </c:pt>
                <c:pt idx="3">
                  <c:v>0.04907538855297846</c:v>
                </c:pt>
                <c:pt idx="4">
                  <c:v>-0.001328060169956561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765313194083825</c:v>
                </c:pt>
                <c:pt idx="1">
                  <c:v>-0.005773196659390412</c:v>
                </c:pt>
                <c:pt idx="2">
                  <c:v>0.04907538855297846</c:v>
                </c:pt>
                <c:pt idx="3">
                  <c:v>-0.0018010388570952468</c:v>
                </c:pt>
                <c:pt idx="4">
                  <c:v>0.00901426335823621</c:v>
                </c:pt>
                <c:pt idx="5">
                  <c:v>0.0020891479359140055</c:v>
                </c:pt>
                <c:pt idx="6">
                  <c:v>-0.0027667787799528706</c:v>
                </c:pt>
                <c:pt idx="7">
                  <c:v>-0.008261873271002893</c:v>
                </c:pt>
                <c:pt idx="8">
                  <c:v>0.0012024529668025257</c:v>
                </c:pt>
                <c:pt idx="9">
                  <c:v>-0.005125233305651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4161928184302117</c:v>
                </c:pt>
                <c:pt idx="2">
                  <c:v>0.16038702948339015</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8431516113622832</c:v>
                </c:pt>
                <c:pt idx="1">
                  <c:v>0.08340397736604566</c:v>
                </c:pt>
                <c:pt idx="2">
                  <c:v>-0.015564576552824422</c:v>
                </c:pt>
                <c:pt idx="3">
                  <c:v>0.0</c:v>
                </c:pt>
                <c:pt idx="4">
                  <c:v>0.015421227622835286</c:v>
                </c:pt>
                <c:pt idx="5">
                  <c:v>0.02696983975631327</c:v>
                </c:pt>
                <c:pt idx="6">
                  <c:v>-0.009933064626412334</c:v>
                </c:pt>
                <c:pt idx="7">
                  <c:v>-0.1041405551773197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884278722109619</c:v>
                </c:pt>
                <c:pt idx="1">
                  <c:v>-0.02730114083951163</c:v>
                </c:pt>
                <c:pt idx="2">
                  <c:v>-0.0009894838955210872</c:v>
                </c:pt>
                <c:pt idx="3">
                  <c:v>0.13573621618938797</c:v>
                </c:pt>
                <c:pt idx="4">
                  <c:v>-0.002600503341420285</c:v>
                </c:pt>
                <c:pt idx="5">
                  <c:v>0.006338995281866704</c:v>
                </c:pt>
                <c:pt idx="6">
                  <c:v>-0.012243865748564613</c:v>
                </c:pt>
                <c:pt idx="7">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9798565260124104</c:v>
                </c:pt>
                <c:pt idx="1">
                  <c:v>-0.0009894838955210872</c:v>
                </c:pt>
                <c:pt idx="2">
                  <c:v>-0.02730114083951163</c:v>
                </c:pt>
                <c:pt idx="3">
                  <c:v>0.13573621618938797</c:v>
                </c:pt>
                <c:pt idx="4">
                  <c:v>0.05914286538014483</c:v>
                </c:pt>
                <c:pt idx="5">
                  <c:v>-0.002600503341420285</c:v>
                </c:pt>
                <c:pt idx="6">
                  <c:v>0.006338995281866704</c:v>
                </c:pt>
                <c:pt idx="7">
                  <c:v>-0.012243865748564613</c:v>
                </c:pt>
                <c:pt idx="8">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193252246261</c:v>
                </c:pt>
                <c:pt idx="1">
                  <c:v>0.33261704023939</c:v>
                </c:pt>
                <c:pt idx="2">
                  <c:v>0.16541070278008613</c:v>
                </c:pt>
                <c:pt idx="3">
                  <c:v>3.973451791385387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14615505078010138</c:v>
                </c:pt>
                <c:pt idx="1">
                  <c:v>0.1411029185961403</c:v>
                </c:pt>
                <c:pt idx="2">
                  <c:v>0.005164377950803906</c:v>
                </c:pt>
                <c:pt idx="3">
                  <c:v>-0.0001122457668428503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019157351364727</c:v>
                </c:pt>
                <c:pt idx="1">
                  <c:v>0.1690788350773481</c:v>
                </c:pt>
                <c:pt idx="2">
                  <c:v>0.16541070278008613</c:v>
                </c:pt>
                <c:pt idx="3">
                  <c:v>0.16353292527720834</c:v>
                </c:pt>
                <c:pt idx="4">
                  <c:v>5.279884833527431e-06</c:v>
                </c:pt>
                <c:pt idx="5">
                  <c:v>5.652184405122314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6550796224791133</c:v>
                </c:pt>
                <c:pt idx="1">
                  <c:v>0.057244955938137665</c:v>
                </c:pt>
                <c:pt idx="2">
                  <c:v>0.008341049675566536</c:v>
                </c:pt>
                <c:pt idx="3">
                  <c:v>-7.804336579293338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4410555027404639</c:v>
                </c:pt>
                <c:pt idx="1">
                  <c:v>0.0850837787650668</c:v>
                </c:pt>
                <c:pt idx="2">
                  <c:v>0.008341049675566536</c:v>
                </c:pt>
                <c:pt idx="3">
                  <c:v>-0.027813108531839797</c:v>
                </c:pt>
                <c:pt idx="4">
                  <c:v>-2.571429508931132e-05</c:v>
                </c:pt>
                <c:pt idx="5">
                  <c:v>-0.0214804553396578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08025485377108</c:v>
                </c:pt>
                <c:pt idx="1">
                  <c:v>0.4313502250587963</c:v>
                </c:pt>
                <c:pt idx="2">
                  <c:v>0.10543188117041521</c:v>
                </c:pt>
                <c:pt idx="3">
                  <c:v>0.00241534523307771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472501233314821</c:v>
                </c:pt>
                <c:pt idx="1">
                  <c:v>-0.037429272932683666</c:v>
                </c:pt>
                <c:pt idx="2">
                  <c:v>-0.009599008121548402</c:v>
                </c:pt>
                <c:pt idx="3">
                  <c:v>-0.0002218422772500240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313502250587963</c:v>
                </c:pt>
                <c:pt idx="1">
                  <c:v>0.3328527456808234</c:v>
                </c:pt>
                <c:pt idx="2">
                  <c:v>0.12794980285688742</c:v>
                </c:pt>
                <c:pt idx="3">
                  <c:v>0.0973958133772686</c:v>
                </c:pt>
                <c:pt idx="4">
                  <c:v>0.002415345233077713</c:v>
                </c:pt>
                <c:pt idx="5">
                  <c:v>0.0080360677931466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872125706459123</c:v>
                </c:pt>
                <c:pt idx="1">
                  <c:v>-0.02407510884559988</c:v>
                </c:pt>
                <c:pt idx="2">
                  <c:v>-0.013717288680755044</c:v>
                </c:pt>
                <c:pt idx="3">
                  <c:v>-0.000928859538236281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407510884559988</c:v>
                </c:pt>
                <c:pt idx="1">
                  <c:v>0.06494077727179387</c:v>
                </c:pt>
                <c:pt idx="2">
                  <c:v>-0.026219520207202612</c:v>
                </c:pt>
                <c:pt idx="3">
                  <c:v>-0.014856510339989568</c:v>
                </c:pt>
                <c:pt idx="4">
                  <c:v>-0.0009288595382362813</c:v>
                </c:pt>
                <c:pt idx="5">
                  <c:v>0.00113922165923451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955273426125444</c:v>
                </c:pt>
                <c:pt idx="1">
                  <c:v>0.20447265738745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34861665018037336</c:v>
                </c:pt>
                <c:pt idx="1">
                  <c:v>-0.0348616650180373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955273426125444</c:v>
                </c:pt>
                <c:pt idx="1">
                  <c:v>0.20447265738745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46402406883492286</c:v>
                </c:pt>
                <c:pt idx="1">
                  <c:v>0.0464024068834922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955273426125444</c:v>
                </c:pt>
                <c:pt idx="1">
                  <c:v>0.0464024068834922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782610440961</c:v>
                </c:pt>
                <c:pt idx="1">
                  <c:v>0.032173895590389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30294729931052977</c:v>
                </c:pt>
                <c:pt idx="1">
                  <c:v>0.03029472993105288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76856070489533</c:v>
                </c:pt>
                <c:pt idx="1">
                  <c:v>0.03217389559038998</c:v>
                </c:pt>
                <c:pt idx="2">
                  <c:v>0.0001404973606567248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30083875436624163</c:v>
                </c:pt>
                <c:pt idx="1">
                  <c:v>0.03008387543662421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76856070489533</c:v>
                </c:pt>
                <c:pt idx="1">
                  <c:v>0.030083875436624212</c:v>
                </c:pt>
                <c:pt idx="2">
                  <c:v>-0.997769482485577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15529547869356</c:v>
                </c:pt>
                <c:pt idx="1">
                  <c:v>0.26523770337960606</c:v>
                </c:pt>
                <c:pt idx="2">
                  <c:v>0.08158680413856544</c:v>
                </c:pt>
                <c:pt idx="3">
                  <c:v>0.052458409400153165</c:v>
                </c:pt>
                <c:pt idx="4">
                  <c:v>0.04726077094225607</c:v>
                </c:pt>
                <c:pt idx="5">
                  <c:v>0.0219033573524835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792301442457807</c:v>
                </c:pt>
                <c:pt idx="1">
                  <c:v>0.1551150975547126</c:v>
                </c:pt>
                <c:pt idx="2">
                  <c:v>0.10909480524273803</c:v>
                </c:pt>
                <c:pt idx="3">
                  <c:v>0.0565599529567687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8635404092984322</c:v>
                </c:pt>
                <c:pt idx="1">
                  <c:v>0.04433411359133446</c:v>
                </c:pt>
                <c:pt idx="2">
                  <c:v>-0.00840032165243941</c:v>
                </c:pt>
                <c:pt idx="3">
                  <c:v>0.0504205661763561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642847607563295</c:v>
                </c:pt>
                <c:pt idx="1">
                  <c:v>0.11492510623458434</c:v>
                </c:pt>
                <c:pt idx="2">
                  <c:v>0.11008673812182412</c:v>
                </c:pt>
                <c:pt idx="3">
                  <c:v>0.10909480524273803</c:v>
                </c:pt>
                <c:pt idx="4">
                  <c:v>0.05655995295676871</c:v>
                </c:pt>
                <c:pt idx="5">
                  <c:v>0.045028359432888465</c:v>
                </c:pt>
                <c:pt idx="6">
                  <c:v>2.027725486681004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4972124316535154</c:v>
                </c:pt>
                <c:pt idx="1">
                  <c:v>-0.0036962831482238168</c:v>
                </c:pt>
                <c:pt idx="2">
                  <c:v>-0.015026680868632403</c:v>
                </c:pt>
                <c:pt idx="3">
                  <c:v>0.023695209733357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5278908342035176</c:v>
                </c:pt>
                <c:pt idx="1">
                  <c:v>0.03032098436096428</c:v>
                </c:pt>
                <c:pt idx="2">
                  <c:v>0.0023804698069700148</c:v>
                </c:pt>
                <c:pt idx="3">
                  <c:v>-0.015026680868632403</c:v>
                </c:pt>
                <c:pt idx="4">
                  <c:v>0.0236952097333573</c:v>
                </c:pt>
                <c:pt idx="5">
                  <c:v>-0.006076752955193818</c:v>
                </c:pt>
                <c:pt idx="6">
                  <c:v>-1.4321735430249113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075870148112234</c:v>
                </c:pt>
                <c:pt idx="1">
                  <c:v>0.2974301306782346</c:v>
                </c:pt>
                <c:pt idx="2">
                  <c:v>0.1589335732251007</c:v>
                </c:pt>
                <c:pt idx="3">
                  <c:v>0.10443466621139637</c:v>
                </c:pt>
                <c:pt idx="4">
                  <c:v>0.0316146150740449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4427488328454132</c:v>
                </c:pt>
                <c:pt idx="1">
                  <c:v>0.0004074584435345696</c:v>
                </c:pt>
                <c:pt idx="2">
                  <c:v>0.010255261750380884</c:v>
                </c:pt>
                <c:pt idx="3">
                  <c:v>0.014642914717465746</c:v>
                </c:pt>
                <c:pt idx="4">
                  <c:v>0.01896924837316011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27952126409724337</c:v>
                </c:pt>
                <c:pt idx="1">
                  <c:v>0.1713509508138285</c:v>
                </c:pt>
                <c:pt idx="2">
                  <c:v>0.1585183070214462</c:v>
                </c:pt>
                <c:pt idx="3">
                  <c:v>0.12806575071398</c:v>
                </c:pt>
                <c:pt idx="4">
                  <c:v>0.1260787713423991</c:v>
                </c:pt>
                <c:pt idx="5">
                  <c:v>0.10443466621139637</c:v>
                </c:pt>
                <c:pt idx="6">
                  <c:v>0.031614615074044936</c:v>
                </c:pt>
                <c:pt idx="7">
                  <c:v>4.0852200701243077e-07</c:v>
                </c:pt>
                <c:pt idx="8">
                  <c:v>0.000415266203654513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4266929177288659</c:v>
                </c:pt>
                <c:pt idx="1">
                  <c:v>-0.03566055064652274</c:v>
                </c:pt>
                <c:pt idx="2">
                  <c:v>0.013097219929402992</c:v>
                </c:pt>
                <c:pt idx="3">
                  <c:v>0.0005500610784597848</c:v>
                </c:pt>
                <c:pt idx="4">
                  <c:v>0.0177463404613713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17511313980332455</c:v>
                </c:pt>
                <c:pt idx="1">
                  <c:v>-0.0028174327063608118</c:v>
                </c:pt>
                <c:pt idx="2">
                  <c:v>0.01332577379674496</c:v>
                </c:pt>
                <c:pt idx="3">
                  <c:v>-0.013244384803043852</c:v>
                </c:pt>
                <c:pt idx="4">
                  <c:v>-0.032842641131182626</c:v>
                </c:pt>
                <c:pt idx="5">
                  <c:v>0.0005500610784597848</c:v>
                </c:pt>
                <c:pt idx="6">
                  <c:v>0.01774634046137134</c:v>
                </c:pt>
                <c:pt idx="7">
                  <c:v>-4.7680897928878386e-07</c:v>
                </c:pt>
                <c:pt idx="8">
                  <c:v>-0.0002285538673419492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531262831525708</c:v>
                </c:pt>
                <c:pt idx="1">
                  <c:v>0.3468737168474292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29390770234190544</c:v>
                </c:pt>
                <c:pt idx="1">
                  <c:v>-0.2939071337155248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531262831525708</c:v>
                </c:pt>
                <c:pt idx="1">
                  <c:v>0.3468715506813074</c:v>
                </c:pt>
                <c:pt idx="2">
                  <c:v>2.166166121835773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41101944619886593</c:v>
                </c:pt>
                <c:pt idx="1">
                  <c:v>-0.411018781707301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1101944619886593</c:v>
                </c:pt>
                <c:pt idx="1">
                  <c:v>0.3468715506813074</c:v>
                </c:pt>
                <c:pt idx="2">
                  <c:v>-0.75789033238860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130584247901872</c:v>
                </c:pt>
                <c:pt idx="1">
                  <c:v>0.18339485885321907</c:v>
                </c:pt>
                <c:pt idx="2">
                  <c:v>0.00354671635659369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6009995106639099</c:v>
                </c:pt>
                <c:pt idx="1">
                  <c:v>0.059135658687547416</c:v>
                </c:pt>
                <c:pt idx="2">
                  <c:v>0.000964292378843601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385816362462586</c:v>
                </c:pt>
                <c:pt idx="1">
                  <c:v>0.16783760784083573</c:v>
                </c:pt>
                <c:pt idx="2">
                  <c:v>0.16440870943130464</c:v>
                </c:pt>
                <c:pt idx="3">
                  <c:v>0.015557251012383356</c:v>
                </c:pt>
                <c:pt idx="4">
                  <c:v>0.00926536181700804</c:v>
                </c:pt>
                <c:pt idx="5">
                  <c:v>0.0043494336522096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015288866500912102</c:v>
                </c:pt>
                <c:pt idx="1">
                  <c:v>-0.001332427334339914</c:v>
                </c:pt>
                <c:pt idx="2">
                  <c:v>-0.0001964593157513503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3946644639796659</c:v>
                </c:pt>
                <c:pt idx="1">
                  <c:v>-0.0020430492297018876</c:v>
                </c:pt>
                <c:pt idx="2">
                  <c:v>0.001762989546625321</c:v>
                </c:pt>
                <c:pt idx="3">
                  <c:v>0.0007106218953619754</c:v>
                </c:pt>
                <c:pt idx="4">
                  <c:v>0.003942601560748845</c:v>
                </c:pt>
                <c:pt idx="5">
                  <c:v>-0.0004265191332375148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9889452974213</c:v>
                </c:pt>
                <c:pt idx="1">
                  <c:v>0.411652945459916</c:v>
                </c:pt>
                <c:pt idx="2">
                  <c:v>0.075406413947257</c:v>
                </c:pt>
                <c:pt idx="3">
                  <c:v>0.0099516952954056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3936827795157924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3.7885099191115046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10667375902284615</c:v>
                </c:pt>
                <c:pt idx="1">
                  <c:v>-0.007222516680664315</c:v>
                </c:pt>
                <c:pt idx="2">
                  <c:v>0.006185392711612295</c:v>
                </c:pt>
                <c:pt idx="3">
                  <c:v>-2.9613621176498967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3.7885099191115046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61249082929401</c:v>
                </c:pt>
                <c:pt idx="1">
                  <c:v>0.13977706536764944</c:v>
                </c:pt>
                <c:pt idx="2">
                  <c:v>0.13190802848294828</c:v>
                </c:pt>
                <c:pt idx="3">
                  <c:v>0.09781879349283314</c:v>
                </c:pt>
                <c:pt idx="4">
                  <c:v>0.07963211748169355</c:v>
                </c:pt>
                <c:pt idx="5">
                  <c:v>0.01473908688193546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993068828146438</c:v>
                </c:pt>
                <c:pt idx="1">
                  <c:v>0.010113644615943232</c:v>
                </c:pt>
                <c:pt idx="2">
                  <c:v>0.001151609058237052</c:v>
                </c:pt>
                <c:pt idx="3">
                  <c:v>0.00061524902847436</c:v>
                </c:pt>
                <c:pt idx="4">
                  <c:v>0.010092960068861526</c:v>
                </c:pt>
                <c:pt idx="5">
                  <c:v>-0.002042774490051761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858164829228145</c:v>
                </c:pt>
                <c:pt idx="1">
                  <c:v>0.09780897417747379</c:v>
                </c:pt>
                <c:pt idx="2">
                  <c:v>0.08609478266455717</c:v>
                </c:pt>
                <c:pt idx="3">
                  <c:v>0.0831471067132988</c:v>
                </c:pt>
                <c:pt idx="4">
                  <c:v>0.07963211748169355</c:v>
                </c:pt>
                <c:pt idx="5">
                  <c:v>0.03976050072238918</c:v>
                </c:pt>
                <c:pt idx="6">
                  <c:v>0.01910488839045426</c:v>
                </c:pt>
                <c:pt idx="7">
                  <c:v>0.01566677214991803</c:v>
                </c:pt>
                <c:pt idx="8">
                  <c:v>0.011736362821169851</c:v>
                </c:pt>
                <c:pt idx="9">
                  <c:v>0.081232011956230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3012283678846215</c:v>
                </c:pt>
                <c:pt idx="1">
                  <c:v>0.013664505029275048</c:v>
                </c:pt>
                <c:pt idx="2">
                  <c:v>3.063856525761799e-05</c:v>
                </c:pt>
                <c:pt idx="3">
                  <c:v>-0.0003066296243650346</c:v>
                </c:pt>
                <c:pt idx="4">
                  <c:v>-0.001710094761666156</c:v>
                </c:pt>
                <c:pt idx="5">
                  <c:v>0.001333864470344753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23484418258890027</c:v>
                </c:pt>
                <c:pt idx="1">
                  <c:v>-0.0002946909313680107</c:v>
                </c:pt>
                <c:pt idx="2">
                  <c:v>0.00029046142676721065</c:v>
                </c:pt>
                <c:pt idx="3">
                  <c:v>0.02568405464873539</c:v>
                </c:pt>
                <c:pt idx="4">
                  <c:v>-0.001710094761666156</c:v>
                </c:pt>
                <c:pt idx="5">
                  <c:v>-0.0008013973701554641</c:v>
                </c:pt>
                <c:pt idx="6">
                  <c:v>0.000734438873441514</c:v>
                </c:pt>
                <c:pt idx="7">
                  <c:v>-0.003748500421595049</c:v>
                </c:pt>
                <c:pt idx="8">
                  <c:v>-0.00657257255701468</c:v>
                </c:pt>
                <c:pt idx="9">
                  <c:v>-0.01123325708125577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35328100398975</c:v>
                </c:pt>
                <c:pt idx="1">
                  <c:v>0.12113453394840702</c:v>
                </c:pt>
                <c:pt idx="2">
                  <c:v>0.07630679346675324</c:v>
                </c:pt>
                <c:pt idx="3">
                  <c:v>0.06533919707655676</c:v>
                </c:pt>
                <c:pt idx="4">
                  <c:v>0.053685916645729734</c:v>
                </c:pt>
                <c:pt idx="5">
                  <c:v>0.05198032460225085</c:v>
                </c:pt>
                <c:pt idx="6">
                  <c:v>0.053161287204703166</c:v>
                </c:pt>
                <c:pt idx="7">
                  <c:v>0.049897558504140974</c:v>
                </c:pt>
                <c:pt idx="8">
                  <c:v>0.03971371883103011</c:v>
                </c:pt>
                <c:pt idx="9">
                  <c:v>0.085247859680530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5368036231584772</c:v>
                </c:pt>
                <c:pt idx="1">
                  <c:v>0.07038627772395975</c:v>
                </c:pt>
                <c:pt idx="2">
                  <c:v>0.0024219329154248626</c:v>
                </c:pt>
                <c:pt idx="3">
                  <c:v>-0.019588080118691037</c:v>
                </c:pt>
                <c:pt idx="4">
                  <c:v>-0.00438402028198788</c:v>
                </c:pt>
                <c:pt idx="5">
                  <c:v>0.008052433669086125</c:v>
                </c:pt>
                <c:pt idx="6">
                  <c:v>0.01595262032132675</c:v>
                </c:pt>
                <c:pt idx="7">
                  <c:v>0.00035155466181847894</c:v>
                </c:pt>
                <c:pt idx="8">
                  <c:v>0.011031873079609431</c:v>
                </c:pt>
                <c:pt idx="9">
                  <c:v>-0.0788565557389617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11254330316477</c:v>
                </c:pt>
                <c:pt idx="1">
                  <c:v>0.12084569292753908</c:v>
                </c:pt>
                <c:pt idx="2">
                  <c:v>0.08722975738764475</c:v>
                </c:pt>
                <c:pt idx="3">
                  <c:v>0.07630679346675324</c:v>
                </c:pt>
                <c:pt idx="4">
                  <c:v>0.06533919707655676</c:v>
                </c:pt>
                <c:pt idx="5">
                  <c:v>0.05367053609228299</c:v>
                </c:pt>
                <c:pt idx="6">
                  <c:v>0.053161287204703166</c:v>
                </c:pt>
                <c:pt idx="7">
                  <c:v>0.016635557126323784</c:v>
                </c:pt>
                <c:pt idx="8">
                  <c:v>2.5895409020253384e-06</c:v>
                </c:pt>
                <c:pt idx="9">
                  <c:v>0.23568315614564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530463679032919</c:v>
                </c:pt>
                <c:pt idx="1">
                  <c:v>0.04328251614124315</c:v>
                </c:pt>
                <c:pt idx="2">
                  <c:v>0.005808903877590921</c:v>
                </c:pt>
                <c:pt idx="3">
                  <c:v>-0.012982827125001234</c:v>
                </c:pt>
                <c:pt idx="4">
                  <c:v>-0.006664146710103611</c:v>
                </c:pt>
                <c:pt idx="5">
                  <c:v>-0.004973273179574675</c:v>
                </c:pt>
                <c:pt idx="6">
                  <c:v>0.008113917447212862</c:v>
                </c:pt>
                <c:pt idx="7">
                  <c:v>0.001964439851761507</c:v>
                </c:pt>
                <c:pt idx="8">
                  <c:v>0.02905173510270273</c:v>
                </c:pt>
                <c:pt idx="9">
                  <c:v>-0.0282966286155024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603214565230121</c:v>
                </c:pt>
                <c:pt idx="1">
                  <c:v>0.32533524543586345</c:v>
                </c:pt>
                <c:pt idx="2">
                  <c:v>0.07269656905870264</c:v>
                </c:pt>
                <c:pt idx="3">
                  <c:v>0.05024036473526129</c:v>
                </c:pt>
                <c:pt idx="4">
                  <c:v>0.042667488774409276</c:v>
                </c:pt>
                <c:pt idx="5">
                  <c:v>0.012147355675083505</c:v>
                </c:pt>
                <c:pt idx="6">
                  <c:v>0.0075310626704558</c:v>
                </c:pt>
                <c:pt idx="7">
                  <c:v>0.004629995779457232</c:v>
                </c:pt>
                <c:pt idx="8">
                  <c:v>0.02443046134775470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3620195463842077</c:v>
                </c:pt>
                <c:pt idx="1">
                  <c:v>0.04323579990096546</c:v>
                </c:pt>
                <c:pt idx="2">
                  <c:v>-0.01239410439159408</c:v>
                </c:pt>
                <c:pt idx="3">
                  <c:v>0.005808903877590921</c:v>
                </c:pt>
                <c:pt idx="4">
                  <c:v>-0.012982827125001234</c:v>
                </c:pt>
                <c:pt idx="5">
                  <c:v>-0.0066630022925489585</c:v>
                </c:pt>
                <c:pt idx="6">
                  <c:v>0.008113917447212862</c:v>
                </c:pt>
                <c:pt idx="7">
                  <c:v>0.014966109480587506</c:v>
                </c:pt>
                <c:pt idx="8">
                  <c:v>-0.01941878782982804</c:v>
                </c:pt>
                <c:pt idx="9">
                  <c:v>-0.00704581360354237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6676786204140336</c:v>
                </c:pt>
                <c:pt idx="1">
                  <c:v>0.3173805699419531</c:v>
                </c:pt>
                <c:pt idx="2">
                  <c:v>0.15374078132326569</c:v>
                </c:pt>
                <c:pt idx="3">
                  <c:v>0.017739240196660105</c:v>
                </c:pt>
                <c:pt idx="4">
                  <c:v>0.0443715464967177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2242497474796823</c:v>
                </c:pt>
                <c:pt idx="1">
                  <c:v>0.02315069386851898</c:v>
                </c:pt>
                <c:pt idx="2">
                  <c:v>-0.01639624937890566</c:v>
                </c:pt>
                <c:pt idx="3">
                  <c:v>0.0005287638901912972</c:v>
                </c:pt>
                <c:pt idx="4">
                  <c:v>0.01514176636816353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6676786204140336</c:v>
                </c:pt>
                <c:pt idx="1">
                  <c:v>0.1523123416066424</c:v>
                </c:pt>
                <c:pt idx="2">
                  <c:v>0.14357676870467642</c:v>
                </c:pt>
                <c:pt idx="3">
                  <c:v>0.12259210399738563</c:v>
                </c:pt>
                <c:pt idx="4">
                  <c:v>0.04431738744221705</c:v>
                </c:pt>
                <c:pt idx="5">
                  <c:v>0.0177337923806938</c:v>
                </c:pt>
                <c:pt idx="6">
                  <c:v>0.0015575424278440558</c:v>
                </c:pt>
                <c:pt idx="7">
                  <c:v>0.0511422013991373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38978567232158035</c:v>
                </c:pt>
                <c:pt idx="1">
                  <c:v>-0.025219372677823315</c:v>
                </c:pt>
                <c:pt idx="2">
                  <c:v>-0.03283936166852158</c:v>
                </c:pt>
                <c:pt idx="3">
                  <c:v>0.0005747024136378252</c:v>
                </c:pt>
                <c:pt idx="4">
                  <c:v>0.0185054647005490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897858995648479</c:v>
                </c:pt>
                <c:pt idx="1">
                  <c:v>-0.02832490298900872</c:v>
                </c:pt>
                <c:pt idx="2">
                  <c:v>-0.006631651191433857</c:v>
                </c:pt>
                <c:pt idx="3">
                  <c:v>-0.031706051940703806</c:v>
                </c:pt>
                <c:pt idx="4">
                  <c:v>0.014333018110668474</c:v>
                </c:pt>
                <c:pt idx="5">
                  <c:v>0.0006388040228695775</c:v>
                </c:pt>
                <c:pt idx="6">
                  <c:v>0.0002944529275215181</c:v>
                </c:pt>
                <c:pt idx="7">
                  <c:v>0.01241774110360205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2991723013338371</c:v>
                </c:pt>
                <c:pt idx="1">
                  <c:v>-0.041588566401909444</c:v>
                </c:pt>
                <c:pt idx="2">
                  <c:v>0.012900070995891785</c:v>
                </c:pt>
                <c:pt idx="3">
                  <c:v>-0.00122873472736614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0818295667674458</c:v>
                </c:pt>
                <c:pt idx="1">
                  <c:v>-0.0022742065069972783</c:v>
                </c:pt>
                <c:pt idx="2">
                  <c:v>-0.004725516601882265</c:v>
                </c:pt>
                <c:pt idx="3">
                  <c:v>0.009653629955309141</c:v>
                </c:pt>
                <c:pt idx="4">
                  <c:v>0.01959228943967929</c:v>
                </c:pt>
                <c:pt idx="5">
                  <c:v>-0.001427900618434422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3219132412506581</c:v>
                </c:pt>
                <c:pt idx="1">
                  <c:v>-0.039265517038844344</c:v>
                </c:pt>
                <c:pt idx="2">
                  <c:v>-0.006585153944946631</c:v>
                </c:pt>
                <c:pt idx="3">
                  <c:v>0.014644708135821888</c:v>
                </c:pt>
                <c:pt idx="4">
                  <c:v>-0.00227409399168204</c:v>
                </c:pt>
                <c:pt idx="5">
                  <c:v>0.005719726402380711</c:v>
                </c:pt>
                <c:pt idx="6">
                  <c:v>0.002838449261905126</c:v>
                </c:pt>
                <c:pt idx="7">
                  <c:v>0.0004906955446371611</c:v>
                </c:pt>
                <c:pt idx="8">
                  <c:v>-0.00776013849433770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20520881625574</c:v>
                </c:pt>
                <c:pt idx="1">
                  <c:v>0.42246355675078295</c:v>
                </c:pt>
                <c:pt idx="2">
                  <c:v>0.05531577188277745</c:v>
                </c:pt>
                <c:pt idx="3">
                  <c:v>0.00169978974086559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818845395016039</c:v>
                </c:pt>
                <c:pt idx="1">
                  <c:v>0.08014505365141006</c:v>
                </c:pt>
                <c:pt idx="2">
                  <c:v>0.005678411544167684</c:v>
                </c:pt>
                <c:pt idx="3">
                  <c:v>-0.00393892569397385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20520881625574</c:v>
                </c:pt>
                <c:pt idx="1">
                  <c:v>0.26093409176980265</c:v>
                </c:pt>
                <c:pt idx="2">
                  <c:v>0.11948506860982745</c:v>
                </c:pt>
                <c:pt idx="3">
                  <c:v>0.0548654247322904</c:v>
                </c:pt>
                <c:pt idx="4">
                  <c:v>0.022993395782637104</c:v>
                </c:pt>
                <c:pt idx="5">
                  <c:v>0.012505013165600024</c:v>
                </c:pt>
                <c:pt idx="6">
                  <c:v>0.0014043177184819887</c:v>
                </c:pt>
                <c:pt idx="7">
                  <c:v>0.0072918065957864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8270165634656101</c:v>
                </c:pt>
                <c:pt idx="1">
                  <c:v>0.004902207614366494</c:v>
                </c:pt>
                <c:pt idx="2">
                  <c:v>-0.007025844733892957</c:v>
                </c:pt>
                <c:pt idx="3">
                  <c:v>-0.00614652851512964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270165634656101</c:v>
                </c:pt>
                <c:pt idx="1">
                  <c:v>0.006263399378135914</c:v>
                </c:pt>
                <c:pt idx="2">
                  <c:v>0.0028365363716040953</c:v>
                </c:pt>
                <c:pt idx="3">
                  <c:v>-0.006607238016193437</c:v>
                </c:pt>
                <c:pt idx="4">
                  <c:v>0.0003921142107385332</c:v>
                </c:pt>
                <c:pt idx="5">
                  <c:v>-0.004270228683738745</c:v>
                </c:pt>
                <c:pt idx="6">
                  <c:v>0.0003853779630263682</c:v>
                </c:pt>
                <c:pt idx="7">
                  <c:v>-0.007270126858228833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634071098727703</c:v>
                </c:pt>
                <c:pt idx="1">
                  <c:v>0.4218609465196227</c:v>
                </c:pt>
                <c:pt idx="2">
                  <c:v>0.014671543373413276</c:v>
                </c:pt>
                <c:pt idx="3">
                  <c:v>6.040023419374589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27278238313798164</c:v>
                </c:pt>
                <c:pt idx="1">
                  <c:v>0.0167211885352615</c:v>
                </c:pt>
                <c:pt idx="2">
                  <c:v>-0.013983753955587324</c:v>
                </c:pt>
                <c:pt idx="3">
                  <c:v>-9.61074829437675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634071098727703</c:v>
                </c:pt>
                <c:pt idx="1">
                  <c:v>0.17983404525518154</c:v>
                </c:pt>
                <c:pt idx="2">
                  <c:v>0.17443352972081777</c:v>
                </c:pt>
                <c:pt idx="3">
                  <c:v>0.06759230025568583</c:v>
                </c:pt>
                <c:pt idx="4">
                  <c:v>0.014671543373413276</c:v>
                </c:pt>
                <c:pt idx="5">
                  <c:v>6.147152213130389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548096667935807</c:v>
                </c:pt>
                <c:pt idx="1">
                  <c:v>-0.04817989864258232</c:v>
                </c:pt>
                <c:pt idx="2">
                  <c:v>0.012717401881350707</c:v>
                </c:pt>
                <c:pt idx="3">
                  <c:v>-1.8469918126368527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3548096667935807</c:v>
                </c:pt>
                <c:pt idx="1">
                  <c:v>-0.014466840468187109</c:v>
                </c:pt>
                <c:pt idx="2">
                  <c:v>-0.028279548480506844</c:v>
                </c:pt>
                <c:pt idx="3">
                  <c:v>-0.0054236283228505655</c:v>
                </c:pt>
                <c:pt idx="4">
                  <c:v>0.012717401881350707</c:v>
                </c:pt>
                <c:pt idx="5">
                  <c:v>-2.8351289164178815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8775505146766035</c:v>
                </c:pt>
                <c:pt idx="1">
                  <c:v>0.17479456973089352</c:v>
                </c:pt>
                <c:pt idx="2">
                  <c:v>0.17179239765902454</c:v>
                </c:pt>
                <c:pt idx="3">
                  <c:v>0.14632049889622967</c:v>
                </c:pt>
                <c:pt idx="4">
                  <c:v>0.019252307360892756</c:v>
                </c:pt>
                <c:pt idx="5">
                  <c:v>8.517488529915127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5955139427719247</c:v>
                </c:pt>
                <c:pt idx="1">
                  <c:v>0.01718002664453261</c:v>
                </c:pt>
                <c:pt idx="2">
                  <c:v>0.0057327533241826045</c:v>
                </c:pt>
                <c:pt idx="3">
                  <c:v>-0.02662291161092925</c:v>
                </c:pt>
                <c:pt idx="4">
                  <c:v>0.011278893779597168</c:v>
                </c:pt>
                <c:pt idx="5">
                  <c:v>-0.00161362270966385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893357402076324</c:v>
                </c:pt>
                <c:pt idx="1">
                  <c:v>0.1705327574375315</c:v>
                </c:pt>
                <c:pt idx="2">
                  <c:v>0.11020489573032753</c:v>
                </c:pt>
                <c:pt idx="3">
                  <c:v>0.10264151590826268</c:v>
                </c:pt>
                <c:pt idx="4">
                  <c:v>0.08216196911212473</c:v>
                </c:pt>
                <c:pt idx="5">
                  <c:v>0.0638321757822583</c:v>
                </c:pt>
                <c:pt idx="6">
                  <c:v>0.019806762256245093</c:v>
                </c:pt>
                <c:pt idx="7">
                  <c:v>0.013656396002433584</c:v>
                </c:pt>
                <c:pt idx="8">
                  <c:v>0.0026495052146476693</c:v>
                </c:pt>
                <c:pt idx="9">
                  <c:v>0.04517828234853652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30904981410351806</c:v>
                </c:pt>
                <c:pt idx="1">
                  <c:v>-0.00997110611607821</c:v>
                </c:pt>
                <c:pt idx="2">
                  <c:v>0.008251543198747546</c:v>
                </c:pt>
                <c:pt idx="3">
                  <c:v>-0.011257204316033415</c:v>
                </c:pt>
                <c:pt idx="4">
                  <c:v>0.011110000181649014</c:v>
                </c:pt>
                <c:pt idx="5">
                  <c:v>-0.001223731089320106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398141752416232</c:v>
                </c:pt>
                <c:pt idx="1">
                  <c:v>0.00837464198320298</c:v>
                </c:pt>
                <c:pt idx="2">
                  <c:v>-0.0003600767561339341</c:v>
                </c:pt>
                <c:pt idx="3">
                  <c:v>-0.01018274088011474</c:v>
                </c:pt>
                <c:pt idx="4">
                  <c:v>-0.009802563688465785</c:v>
                </c:pt>
                <c:pt idx="5">
                  <c:v>0.0022194796517677334</c:v>
                </c:pt>
                <c:pt idx="6">
                  <c:v>-0.0012323789032130765</c:v>
                </c:pt>
                <c:pt idx="7">
                  <c:v>-0.002893558838998762</c:v>
                </c:pt>
                <c:pt idx="8">
                  <c:v>-0.006768899536028482</c:v>
                </c:pt>
                <c:pt idx="9">
                  <c:v>0.006664679443821746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1419249152233</c:v>
                </c:pt>
                <c:pt idx="1">
                  <c:v>0.10898820760830955</c:v>
                </c:pt>
                <c:pt idx="2">
                  <c:v>0.11270471095104044</c:v>
                </c:pt>
                <c:pt idx="3">
                  <c:v>0.07230305283829977</c:v>
                </c:pt>
                <c:pt idx="4">
                  <c:v>0.07562371661877831</c:v>
                </c:pt>
                <c:pt idx="5">
                  <c:v>0.06657175075327938</c:v>
                </c:pt>
                <c:pt idx="6">
                  <c:v>0.07232427407810879</c:v>
                </c:pt>
                <c:pt idx="7">
                  <c:v>0.035292489138979415</c:v>
                </c:pt>
                <c:pt idx="8">
                  <c:v>0.03609173128447114</c:v>
                </c:pt>
                <c:pt idx="9">
                  <c:v>0.0129581418135099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0017370710860025</c:v>
                </c:pt>
                <c:pt idx="1">
                  <c:v>-0.0036901840135741965</c:v>
                </c:pt>
                <c:pt idx="2">
                  <c:v>0.08641599600892229</c:v>
                </c:pt>
                <c:pt idx="3">
                  <c:v>-0.01995596379748131</c:v>
                </c:pt>
                <c:pt idx="4">
                  <c:v>-0.010099810534476852</c:v>
                </c:pt>
                <c:pt idx="5">
                  <c:v>-0.00973600950866145</c:v>
                </c:pt>
                <c:pt idx="6">
                  <c:v>0.05138584323729161</c:v>
                </c:pt>
                <c:pt idx="7">
                  <c:v>-0.04677244104538242</c:v>
                </c:pt>
                <c:pt idx="8">
                  <c:v>-0.001631923401847972</c:v>
                </c:pt>
                <c:pt idx="9">
                  <c:v>-0.0759328776556497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46492407697185</c:v>
                </c:pt>
                <c:pt idx="1">
                  <c:v>0.11270431289730427</c:v>
                </c:pt>
                <c:pt idx="2">
                  <c:v>0.10898820760830955</c:v>
                </c:pt>
                <c:pt idx="3">
                  <c:v>0.07562371661877831</c:v>
                </c:pt>
                <c:pt idx="4">
                  <c:v>0.07232427407810879</c:v>
                </c:pt>
                <c:pt idx="5">
                  <c:v>0.07230305283829977</c:v>
                </c:pt>
                <c:pt idx="6">
                  <c:v>0.06657175075327938</c:v>
                </c:pt>
                <c:pt idx="7">
                  <c:v>0.042492286091768604</c:v>
                </c:pt>
                <c:pt idx="8">
                  <c:v>3.980537361597338e-07</c:v>
                </c:pt>
                <c:pt idx="9">
                  <c:v>0.084342760290696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6453714044717335</c:v>
                </c:pt>
                <c:pt idx="1">
                  <c:v>-0.019804032720627</c:v>
                </c:pt>
                <c:pt idx="2">
                  <c:v>0.09450452004864976</c:v>
                </c:pt>
                <c:pt idx="3">
                  <c:v>-0.009471954426632984</c:v>
                </c:pt>
                <c:pt idx="4">
                  <c:v>0.003355388740534704</c:v>
                </c:pt>
                <c:pt idx="5">
                  <c:v>-0.0018203588224590395</c:v>
                </c:pt>
                <c:pt idx="6">
                  <c:v>0.04070424779309874</c:v>
                </c:pt>
                <c:pt idx="7">
                  <c:v>-0.020015994604424207</c:v>
                </c:pt>
                <c:pt idx="8">
                  <c:v>0.0004390046802973113</c:v>
                </c:pt>
                <c:pt idx="9">
                  <c:v>-0.0233536802412639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5526851958803156</c:v>
                </c:pt>
                <c:pt idx="1">
                  <c:v>0.0945066449839503</c:v>
                </c:pt>
                <c:pt idx="2">
                  <c:v>-0.019804032720627</c:v>
                </c:pt>
                <c:pt idx="3">
                  <c:v>0.003355388740534704</c:v>
                </c:pt>
                <c:pt idx="4">
                  <c:v>0.04070424779309874</c:v>
                </c:pt>
                <c:pt idx="5">
                  <c:v>-0.009471954426632984</c:v>
                </c:pt>
                <c:pt idx="6">
                  <c:v>-0.0018203588224590395</c:v>
                </c:pt>
                <c:pt idx="7">
                  <c:v>-0.010129412764883633</c:v>
                </c:pt>
                <c:pt idx="8">
                  <c:v>-0.03888013867050956</c:v>
                </c:pt>
                <c:pt idx="9">
                  <c:v>-0.04293353215366839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505401920205578</c:v>
                </c:pt>
                <c:pt idx="1">
                  <c:v>0.4349587170511467</c:v>
                </c:pt>
                <c:pt idx="2">
                  <c:v>0.0145010909282955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9749079248181997</c:v>
                </c:pt>
                <c:pt idx="1">
                  <c:v>-0.09185406144955688</c:v>
                </c:pt>
                <c:pt idx="2">
                  <c:v>-0.00563673103226307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05401920205578</c:v>
                </c:pt>
                <c:pt idx="1">
                  <c:v>0.202989323531258</c:v>
                </c:pt>
                <c:pt idx="2">
                  <c:v>0.1703187645057737</c:v>
                </c:pt>
                <c:pt idx="3">
                  <c:v>0.05937977672312899</c:v>
                </c:pt>
                <c:pt idx="4">
                  <c:v>0.0022379586031110667</c:v>
                </c:pt>
                <c:pt idx="5">
                  <c:v>0.0145339846161704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106935092244555</c:v>
                </c:pt>
                <c:pt idx="1">
                  <c:v>-0.0204545561195289</c:v>
                </c:pt>
                <c:pt idx="2">
                  <c:v>-0.000614794802916604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4161928184302117</c:v>
                </c:pt>
                <c:pt idx="2">
                  <c:v>0.16038702948339015</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106935092244555</c:v>
                </c:pt>
                <c:pt idx="1">
                  <c:v>-0.012675524883001582</c:v>
                </c:pt>
                <c:pt idx="2">
                  <c:v>0.02787344508577394</c:v>
                </c:pt>
                <c:pt idx="3">
                  <c:v>-0.036034438286476324</c:v>
                </c:pt>
                <c:pt idx="4">
                  <c:v>0.00039867658633914406</c:v>
                </c:pt>
                <c:pt idx="5">
                  <c:v>-0.000631509425080698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8430056713658067</c:v>
                </c:pt>
                <c:pt idx="1">
                  <c:v>0.08340393644115927</c:v>
                </c:pt>
                <c:pt idx="2">
                  <c:v>-0.015564637243261153</c:v>
                </c:pt>
                <c:pt idx="3">
                  <c:v>0.0</c:v>
                </c:pt>
                <c:pt idx="4">
                  <c:v>0.015421212162440343</c:v>
                </c:pt>
                <c:pt idx="5">
                  <c:v>0.02696983852208748</c:v>
                </c:pt>
                <c:pt idx="6">
                  <c:v>-0.009933078297937246</c:v>
                </c:pt>
                <c:pt idx="7">
                  <c:v>-0.104140277255854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884278722109619</c:v>
                </c:pt>
                <c:pt idx="1">
                  <c:v>-0.02730114083951163</c:v>
                </c:pt>
                <c:pt idx="2">
                  <c:v>-0.0009894838955210872</c:v>
                </c:pt>
                <c:pt idx="3">
                  <c:v>0.13573621618938797</c:v>
                </c:pt>
                <c:pt idx="4">
                  <c:v>-0.002600503341420285</c:v>
                </c:pt>
                <c:pt idx="5">
                  <c:v>0.006338995281866704</c:v>
                </c:pt>
                <c:pt idx="6">
                  <c:v>-0.012243865748564613</c:v>
                </c:pt>
                <c:pt idx="7">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986392650886988</c:v>
                </c:pt>
                <c:pt idx="1">
                  <c:v>0.1945614126432044</c:v>
                </c:pt>
                <c:pt idx="2">
                  <c:v>0.18449876064557655</c:v>
                </c:pt>
                <c:pt idx="3">
                  <c:v>0.10973257122076693</c:v>
                </c:pt>
                <c:pt idx="4">
                  <c:v>0.012547550765817385</c:v>
                </c:pt>
                <c:pt idx="5">
                  <c:v>2.0439635935910457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4072599490164142</c:v>
                </c:pt>
                <c:pt idx="1">
                  <c:v>0.014623506851825202</c:v>
                </c:pt>
                <c:pt idx="2">
                  <c:v>0.012078752946024979</c:v>
                </c:pt>
                <c:pt idx="3">
                  <c:v>-0.036484156741330154</c:v>
                </c:pt>
                <c:pt idx="4">
                  <c:v>0.006578902843278229</c:v>
                </c:pt>
                <c:pt idx="5">
                  <c:v>-0.000869605389962367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5485667833671</c:v>
                </c:pt>
                <c:pt idx="1">
                  <c:v>0.17979403359289628</c:v>
                </c:pt>
                <c:pt idx="2">
                  <c:v>0.10995785856448954</c:v>
                </c:pt>
                <c:pt idx="3">
                  <c:v>0.08058810055333705</c:v>
                </c:pt>
                <c:pt idx="4">
                  <c:v>0.07621791940303367</c:v>
                </c:pt>
                <c:pt idx="5">
                  <c:v>0.06054523212446642</c:v>
                </c:pt>
                <c:pt idx="6">
                  <c:v>0.012740341022752313</c:v>
                </c:pt>
                <c:pt idx="7">
                  <c:v>0.012580595918552887</c:v>
                </c:pt>
                <c:pt idx="8">
                  <c:v>0.0038173438048317815</c:v>
                </c:pt>
                <c:pt idx="9">
                  <c:v>0.048272907181969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691639889830048</c:v>
                </c:pt>
                <c:pt idx="1">
                  <c:v>-0.008968680697022918</c:v>
                </c:pt>
                <c:pt idx="2">
                  <c:v>0.011095947882880375</c:v>
                </c:pt>
                <c:pt idx="3">
                  <c:v>-0.01688391889974833</c:v>
                </c:pt>
                <c:pt idx="4">
                  <c:v>0.008193457109466257</c:v>
                </c:pt>
                <c:pt idx="5">
                  <c:v>-0.000353204293875887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718664005018561</c:v>
                </c:pt>
                <c:pt idx="1">
                  <c:v>0.011119495397241108</c:v>
                </c:pt>
                <c:pt idx="2">
                  <c:v>-0.011533843991188814</c:v>
                </c:pt>
                <c:pt idx="3">
                  <c:v>-0.004995595923844118</c:v>
                </c:pt>
                <c:pt idx="4">
                  <c:v>0.004441170024360036</c:v>
                </c:pt>
                <c:pt idx="5">
                  <c:v>-0.008580790117344729</c:v>
                </c:pt>
                <c:pt idx="6">
                  <c:v>-0.0020485229919890123</c:v>
                </c:pt>
                <c:pt idx="7">
                  <c:v>-0.0025215490578820235</c:v>
                </c:pt>
                <c:pt idx="8">
                  <c:v>-0.007320650394069031</c:v>
                </c:pt>
                <c:pt idx="9">
                  <c:v>0.00425364700453094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9880317338389374</c:v>
                </c:pt>
                <c:pt idx="1">
                  <c:v>0.12269341913856764</c:v>
                </c:pt>
                <c:pt idx="2">
                  <c:v>0.07020537215314909</c:v>
                </c:pt>
                <c:pt idx="3">
                  <c:v>0.06477798206895297</c:v>
                </c:pt>
                <c:pt idx="4">
                  <c:v>0.052458409400153165</c:v>
                </c:pt>
                <c:pt idx="5">
                  <c:v>0.04726077094225607</c:v>
                </c:pt>
                <c:pt idx="6">
                  <c:v>0.04435979149621691</c:v>
                </c:pt>
                <c:pt idx="7">
                  <c:v>0.02439219042886768</c:v>
                </c:pt>
                <c:pt idx="8">
                  <c:v>0.0014099117822834472</c:v>
                </c:pt>
                <c:pt idx="9">
                  <c:v>0.0736389792056592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9798565260124104</c:v>
                </c:pt>
                <c:pt idx="1">
                  <c:v>-0.0009894838955210872</c:v>
                </c:pt>
                <c:pt idx="2">
                  <c:v>-0.02730114083951163</c:v>
                </c:pt>
                <c:pt idx="3">
                  <c:v>0.13573621618938797</c:v>
                </c:pt>
                <c:pt idx="4">
                  <c:v>0.05914286538014483</c:v>
                </c:pt>
                <c:pt idx="5">
                  <c:v>-0.002600503341420285</c:v>
                </c:pt>
                <c:pt idx="6">
                  <c:v>0.006338995281866704</c:v>
                </c:pt>
                <c:pt idx="7">
                  <c:v>-0.012243865748564613</c:v>
                </c:pt>
                <c:pt idx="8">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36686001610332</c:v>
                </c:pt>
                <c:pt idx="1">
                  <c:v>0.26606249075702054</c:v>
                </c:pt>
                <c:pt idx="2">
                  <c:v>0.00026890908194620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9408440088726985</c:v>
                </c:pt>
                <c:pt idx="1">
                  <c:v>0.2088572447190139</c:v>
                </c:pt>
                <c:pt idx="2">
                  <c:v>0.18229427662159678</c:v>
                </c:pt>
                <c:pt idx="3">
                  <c:v>0.11474067148920442</c:v>
                </c:pt>
                <c:pt idx="4">
                  <c:v>2.3406282915085347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3928567348793608</c:v>
                </c:pt>
                <c:pt idx="1">
                  <c:v>0.005589657515015167</c:v>
                </c:pt>
                <c:pt idx="2">
                  <c:v>0.03147172121167324</c:v>
                </c:pt>
                <c:pt idx="3">
                  <c:v>-0.022999261371062854</c:v>
                </c:pt>
                <c:pt idx="4">
                  <c:v>-0.0001335500068319177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9324706144963</c:v>
                </c:pt>
                <c:pt idx="1">
                  <c:v>0.18229427662159678</c:v>
                </c:pt>
                <c:pt idx="2">
                  <c:v>0.11050485725556362</c:v>
                </c:pt>
                <c:pt idx="3">
                  <c:v>0.09681398918521283</c:v>
                </c:pt>
                <c:pt idx="4">
                  <c:v>0.08948700928705275</c:v>
                </c:pt>
                <c:pt idx="5">
                  <c:v>0.06681815984141566</c:v>
                </c:pt>
                <c:pt idx="6">
                  <c:v>0.012655207830169796</c:v>
                </c:pt>
                <c:pt idx="7">
                  <c:v>0.004285609067178291</c:v>
                </c:pt>
                <c:pt idx="8">
                  <c:v>0.0009857750348947914</c:v>
                </c:pt>
                <c:pt idx="9">
                  <c:v>0.028222645262419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0087386019713485</c:v>
                </c:pt>
                <c:pt idx="1">
                  <c:v>-0.010130336355275493</c:v>
                </c:pt>
                <c:pt idx="2">
                  <c:v>0.013726408187844708</c:v>
                </c:pt>
                <c:pt idx="3">
                  <c:v>-0.013608111429159936</c:v>
                </c:pt>
                <c:pt idx="4">
                  <c:v>-7.53464231227515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8157267600847404</c:v>
                </c:pt>
                <c:pt idx="1">
                  <c:v>0.013726408187844708</c:v>
                </c:pt>
                <c:pt idx="2">
                  <c:v>-0.00824272564465059</c:v>
                </c:pt>
                <c:pt idx="3">
                  <c:v>-0.0015376135502916805</c:v>
                </c:pt>
                <c:pt idx="4">
                  <c:v>0.0010351380005659688</c:v>
                </c:pt>
                <c:pt idx="5">
                  <c:v>-0.007982377424227388</c:v>
                </c:pt>
                <c:pt idx="6">
                  <c:v>-0.0010676900761728107</c:v>
                </c:pt>
                <c:pt idx="7">
                  <c:v>-0.007773678565718436</c:v>
                </c:pt>
                <c:pt idx="8">
                  <c:v>-0.003227128160991931</c:v>
                </c:pt>
                <c:pt idx="9">
                  <c:v>-0.003087600367205206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6357113434806845</c:v>
                </c:pt>
                <c:pt idx="1">
                  <c:v>0.027344444076505603</c:v>
                </c:pt>
                <c:pt idx="2">
                  <c:v>-0.00098733064169882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4292496725021309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568102316512159</c:v>
                </c:pt>
                <c:pt idx="1">
                  <c:v>-0.05660530169468875</c:v>
                </c:pt>
                <c:pt idx="2">
                  <c:v>-0.000204929956527224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6057294964546933</c:v>
                </c:pt>
                <c:pt idx="1">
                  <c:v>-0.060090856457951564</c:v>
                </c:pt>
                <c:pt idx="2">
                  <c:v>-0.004263002123108484</c:v>
                </c:pt>
                <c:pt idx="3">
                  <c:v>-0.0037627179942533867</c:v>
                </c:pt>
                <c:pt idx="4">
                  <c:v>0.007757250533517163</c:v>
                </c:pt>
                <c:pt idx="5">
                  <c:v>-0.000213623603673070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Amazo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15529547869356</c:v>
                </c:pt>
                <c:pt idx="1">
                  <c:v>0.26523770337960606</c:v>
                </c:pt>
                <c:pt idx="2">
                  <c:v>0.08158680413856544</c:v>
                </c:pt>
                <c:pt idx="3">
                  <c:v>0.052458409400153165</c:v>
                </c:pt>
                <c:pt idx="4">
                  <c:v>0.04726077094225607</c:v>
                </c:pt>
                <c:pt idx="5">
                  <c:v>0.021903357352483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CVS Corp</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685340542077295</c:v>
                </c:pt>
                <c:pt idx="1">
                  <c:v>0.33041219446047565</c:v>
                </c:pt>
                <c:pt idx="2">
                  <c:v>0.06917234035543501</c:v>
                </c:pt>
                <c:pt idx="3">
                  <c:v>0.010797846997598316</c:v>
                </c:pt>
                <c:pt idx="4">
                  <c:v>0.021083563978761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Walmart</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2342388966051653</c:v>
                </c:pt>
                <c:pt idx="1">
                  <c:v>0.23707500109688973</c:v>
                </c:pt>
                <c:pt idx="2">
                  <c:v>0.16299289271338654</c:v>
                </c:pt>
                <c:pt idx="3">
                  <c:v>0.11422398101369019</c:v>
                </c:pt>
                <c:pt idx="4">
                  <c:v>0.011548514323091763</c:v>
                </c:pt>
                <c:pt idx="5">
                  <c:v>0.01265472010605893</c:v>
                </c:pt>
                <c:pt idx="6">
                  <c:v>0.038081001086366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9889452974213</c:v>
                </c:pt>
                <c:pt idx="1">
                  <c:v>0.411652945459916</c:v>
                </c:pt>
                <c:pt idx="2">
                  <c:v>0.075406413947257</c:v>
                </c:pt>
                <c:pt idx="3">
                  <c:v>0.0099516952954056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36686001610332</c:v>
                </c:pt>
                <c:pt idx="1">
                  <c:v>0.26606249075702054</c:v>
                </c:pt>
                <c:pt idx="2">
                  <c:v>0.00026890908194620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879133263892266</c:v>
                </c:pt>
                <c:pt idx="1">
                  <c:v>0.3468015387832334</c:v>
                </c:pt>
                <c:pt idx="2">
                  <c:v>0.20372290071084256</c:v>
                </c:pt>
                <c:pt idx="3">
                  <c:v>0.06156172691755115</c:v>
                </c:pt>
                <c:pt idx="4">
                  <c:v>5.071991463484507e-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38205155189213</c:v>
                </c:pt>
                <c:pt idx="1">
                  <c:v>0.30944703541999274</c:v>
                </c:pt>
                <c:pt idx="2">
                  <c:v>0.06467531656238576</c:v>
                </c:pt>
                <c:pt idx="3">
                  <c:v>0.05826721314321606</c:v>
                </c:pt>
                <c:pt idx="4">
                  <c:v>0.0294052796851924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51007351975874</c:v>
                </c:pt>
                <c:pt idx="1">
                  <c:v>0.35179050633495423</c:v>
                </c:pt>
                <c:pt idx="2">
                  <c:v>0.09474343146539595</c:v>
                </c:pt>
                <c:pt idx="3">
                  <c:v>0.002458710223775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187243252263516</c:v>
                </c:pt>
                <c:pt idx="1">
                  <c:v>0.392410130554029</c:v>
                </c:pt>
                <c:pt idx="2">
                  <c:v>0.04571421276000674</c:v>
                </c:pt>
                <c:pt idx="3">
                  <c:v>0.026462758217925857</c:v>
                </c:pt>
                <c:pt idx="4">
                  <c:v>0.0166885732416868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0343210615584156</c:v>
                </c:pt>
                <c:pt idx="1">
                  <c:v>0.0027935747780105757</c:v>
                </c:pt>
                <c:pt idx="2">
                  <c:v>0.016428880242109815</c:v>
                </c:pt>
                <c:pt idx="3">
                  <c:v>0.777345438824038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4161928184302117</c:v>
                </c:pt>
                <c:pt idx="2">
                  <c:v>0.16038702948339015</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7868840791294</c:v>
                </c:pt>
                <c:pt idx="1">
                  <c:v>0.1543555809069617</c:v>
                </c:pt>
                <c:pt idx="2">
                  <c:v>0.10239988313516968</c:v>
                </c:pt>
                <c:pt idx="3">
                  <c:v>0.10710280465374865</c:v>
                </c:pt>
                <c:pt idx="4">
                  <c:v>0.09428287229427246</c:v>
                </c:pt>
                <c:pt idx="5">
                  <c:v>0.10242993791696825</c:v>
                </c:pt>
                <c:pt idx="6">
                  <c:v>0.04998332188632549</c:v>
                </c:pt>
                <c:pt idx="7">
                  <c:v>0.051115256141965965</c:v>
                </c:pt>
                <c:pt idx="8">
                  <c:v>0.026444226516935836</c:v>
                </c:pt>
                <c:pt idx="9">
                  <c:v>0.019099232468522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550962475906356</c:v>
                </c:pt>
                <c:pt idx="1">
                  <c:v>0.31214844563802135</c:v>
                </c:pt>
                <c:pt idx="2">
                  <c:v>0.10154918792105322</c:v>
                </c:pt>
                <c:pt idx="3">
                  <c:v>0.092683399449193</c:v>
                </c:pt>
                <c:pt idx="4">
                  <c:v>0.01948341164495271</c:v>
                </c:pt>
                <c:pt idx="5">
                  <c:v>0.0190393077561440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193252246261</c:v>
                </c:pt>
                <c:pt idx="1">
                  <c:v>0.33261704023939</c:v>
                </c:pt>
                <c:pt idx="2">
                  <c:v>0.16541070278008613</c:v>
                </c:pt>
                <c:pt idx="3">
                  <c:v>3.973451791385387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4347402032885093</c:v>
                </c:pt>
                <c:pt idx="1">
                  <c:v>0.008734112029438634</c:v>
                </c:pt>
                <c:pt idx="2">
                  <c:v>-0.006698517872439733</c:v>
                </c:pt>
                <c:pt idx="3">
                  <c:v>-0.007778555383403496</c:v>
                </c:pt>
                <c:pt idx="4">
                  <c:v>0.01752907711051176</c:v>
                </c:pt>
                <c:pt idx="5">
                  <c:v>0.002561286148777909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0401169467698517</c:v>
                </c:pt>
                <c:pt idx="1">
                  <c:v>0.2962107359334066</c:v>
                </c:pt>
                <c:pt idx="2">
                  <c:v>0.16365093277648748</c:v>
                </c:pt>
                <c:pt idx="3">
                  <c:v>0.10695471147530061</c:v>
                </c:pt>
                <c:pt idx="4">
                  <c:v>0.0291719251378201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559059525753663</c:v>
                </c:pt>
                <c:pt idx="1">
                  <c:v>0.15354362108245126</c:v>
                </c:pt>
                <c:pt idx="2">
                  <c:v>0.030868135027264466</c:v>
                </c:pt>
                <c:pt idx="3">
                  <c:v>0.0596822913149179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880240822447782</c:v>
                </c:pt>
                <c:pt idx="1">
                  <c:v>0.0119759177552218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187019811959954</c:v>
                </c:pt>
                <c:pt idx="1">
                  <c:v>0.38129801880400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Amazo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9880317338389374</c:v>
                </c:pt>
                <c:pt idx="1">
                  <c:v>0.12269341913856764</c:v>
                </c:pt>
                <c:pt idx="2">
                  <c:v>0.07020537215314909</c:v>
                </c:pt>
                <c:pt idx="3">
                  <c:v>0.06477798206895297</c:v>
                </c:pt>
                <c:pt idx="4">
                  <c:v>0.052458409400153165</c:v>
                </c:pt>
                <c:pt idx="5">
                  <c:v>0.04726077094225607</c:v>
                </c:pt>
                <c:pt idx="6">
                  <c:v>0.04435979149621691</c:v>
                </c:pt>
                <c:pt idx="7">
                  <c:v>0.02439219042886768</c:v>
                </c:pt>
                <c:pt idx="8">
                  <c:v>0.0014099117822834472</c:v>
                </c:pt>
                <c:pt idx="9">
                  <c:v>0.073638979205659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CVS Corp</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518363382282485</c:v>
                </c:pt>
                <c:pt idx="1">
                  <c:v>0.09852780339867812</c:v>
                </c:pt>
                <c:pt idx="2">
                  <c:v>0.09498387252938817</c:v>
                </c:pt>
                <c:pt idx="3">
                  <c:v>0.06917234035543501</c:v>
                </c:pt>
                <c:pt idx="4">
                  <c:v>0.06534741420836437</c:v>
                </c:pt>
                <c:pt idx="5">
                  <c:v>0.053717452670138124</c:v>
                </c:pt>
                <c:pt idx="6">
                  <c:v>0.017835565666280893</c:v>
                </c:pt>
                <c:pt idx="7">
                  <c:v>0.01669162314198245</c:v>
                </c:pt>
                <c:pt idx="8">
                  <c:v>0.010797220516323265</c:v>
                </c:pt>
                <c:pt idx="9">
                  <c:v>0.0210903692851610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Walmart</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873228565258847</c:v>
                </c:pt>
                <c:pt idx="1">
                  <c:v>0.11556616703009805</c:v>
                </c:pt>
                <c:pt idx="2">
                  <c:v>0.11209229536532164</c:v>
                </c:pt>
                <c:pt idx="3">
                  <c:v>0.07796220885090527</c:v>
                </c:pt>
                <c:pt idx="4">
                  <c:v>0.07243829218913389</c:v>
                </c:pt>
                <c:pt idx="5">
                  <c:v>0.07225387710847066</c:v>
                </c:pt>
                <c:pt idx="6">
                  <c:v>0.05400556240402083</c:v>
                </c:pt>
                <c:pt idx="7">
                  <c:v>0.04195733453759753</c:v>
                </c:pt>
                <c:pt idx="8">
                  <c:v>0.01441779439110114</c:v>
                </c:pt>
                <c:pt idx="9">
                  <c:v>0.080574182470762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843319172269771</c:v>
                </c:pt>
                <c:pt idx="1">
                  <c:v>0.19936984273839972</c:v>
                </c:pt>
                <c:pt idx="2">
                  <c:v>0.13793744288675955</c:v>
                </c:pt>
                <c:pt idx="3">
                  <c:v>0.09049838329973177</c:v>
                </c:pt>
                <c:pt idx="4">
                  <c:v>0.046476729661821335</c:v>
                </c:pt>
                <c:pt idx="5">
                  <c:v>0.03487097342627445</c:v>
                </c:pt>
                <c:pt idx="6">
                  <c:v>0.032886984523323996</c:v>
                </c:pt>
                <c:pt idx="7">
                  <c:v>0.01901350601479729</c:v>
                </c:pt>
                <c:pt idx="8">
                  <c:v>8.624706604595041e-05</c:v>
                </c:pt>
                <c:pt idx="9">
                  <c:v>0.0545279731558687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325758805808719</c:v>
                </c:pt>
                <c:pt idx="1">
                  <c:v>0.11196426059334602</c:v>
                </c:pt>
                <c:pt idx="2">
                  <c:v>0.1066954652340138</c:v>
                </c:pt>
                <c:pt idx="3">
                  <c:v>0.10649116547173439</c:v>
                </c:pt>
                <c:pt idx="4">
                  <c:v>0.09973116069091448</c:v>
                </c:pt>
                <c:pt idx="5">
                  <c:v>0.03479697934677425</c:v>
                </c:pt>
                <c:pt idx="6">
                  <c:v>0.003265942316386397</c:v>
                </c:pt>
                <c:pt idx="7">
                  <c:v>0.0044791457659587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483447069130778</c:v>
                </c:pt>
                <c:pt idx="1">
                  <c:v>0.13909048445414954</c:v>
                </c:pt>
                <c:pt idx="2">
                  <c:v>0.13171913756639725</c:v>
                </c:pt>
                <c:pt idx="3">
                  <c:v>0.12528866950804982</c:v>
                </c:pt>
                <c:pt idx="4">
                  <c:v>0.0974477076813382</c:v>
                </c:pt>
                <c:pt idx="5">
                  <c:v>0.029305488518049986</c:v>
                </c:pt>
                <c:pt idx="6">
                  <c:v>0.02871669674187085</c:v>
                </c:pt>
                <c:pt idx="7">
                  <c:v>8.313627719464798e-05</c:v>
                </c:pt>
                <c:pt idx="8">
                  <c:v>3.972339871874453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8333066115100088</c:v>
                </c:pt>
                <c:pt idx="1">
                  <c:v>0.15447574229339256</c:v>
                </c:pt>
                <c:pt idx="2">
                  <c:v>0.0053247590662221156</c:v>
                </c:pt>
                <c:pt idx="3">
                  <c:v>0.0016662520066554132</c:v>
                </c:pt>
                <c:pt idx="4">
                  <c:v>0.0012656645295284783</c:v>
                </c:pt>
                <c:pt idx="5">
                  <c:v>0.0039609705941926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9646768205870293</c:v>
                </c:pt>
                <c:pt idx="1">
                  <c:v>0.034393741116182285</c:v>
                </c:pt>
                <c:pt idx="2">
                  <c:v>0.00024622152387272035</c:v>
                </c:pt>
                <c:pt idx="3">
                  <c:v>6.949071377857168e-06</c:v>
                </c:pt>
                <c:pt idx="4">
                  <c:v>0.00067626770153781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104222698886443</c:v>
                </c:pt>
                <c:pt idx="1">
                  <c:v>0.2131414080011543</c:v>
                </c:pt>
                <c:pt idx="2">
                  <c:v>0.07393423260412388</c:v>
                </c:pt>
                <c:pt idx="3">
                  <c:v>0.0015056818227772095</c:v>
                </c:pt>
                <c:pt idx="4">
                  <c:v>1.799555263169388e-06</c:v>
                </c:pt>
                <c:pt idx="5">
                  <c:v>1.3446115168625204e-06</c:v>
                </c:pt>
                <c:pt idx="6">
                  <c:v>0.00099326351652024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210522226133033</c:v>
                </c:pt>
                <c:pt idx="1">
                  <c:v>0.20732588933075502</c:v>
                </c:pt>
                <c:pt idx="2">
                  <c:v>0.1309607922717496</c:v>
                </c:pt>
                <c:pt idx="3">
                  <c:v>0.025024760538961407</c:v>
                </c:pt>
                <c:pt idx="4">
                  <c:v>0.008584745126284144</c:v>
                </c:pt>
                <c:pt idx="5">
                  <c:v>0.00705159011894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795022869373767</c:v>
                </c:pt>
                <c:pt idx="1">
                  <c:v>0.31546737566638516</c:v>
                </c:pt>
                <c:pt idx="2">
                  <c:v>0.10490642429118814</c:v>
                </c:pt>
                <c:pt idx="3">
                  <c:v>0.000123913105049990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595751862884549</c:v>
                </c:pt>
                <c:pt idx="1">
                  <c:v>0.11907777644824788</c:v>
                </c:pt>
                <c:pt idx="2">
                  <c:v>0.11292751564528695</c:v>
                </c:pt>
                <c:pt idx="3">
                  <c:v>0.11056103514589917</c:v>
                </c:pt>
                <c:pt idx="4">
                  <c:v>0.052400192258199925</c:v>
                </c:pt>
                <c:pt idx="5">
                  <c:v>0.045435628454283665</c:v>
                </c:pt>
                <c:pt idx="6">
                  <c:v>2.266575962749492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3837180075038491</c:v>
                </c:pt>
                <c:pt idx="1">
                  <c:v>0.3167921253663202</c:v>
                </c:pt>
                <c:pt idx="2">
                  <c:v>0.10473277068286796</c:v>
                </c:pt>
                <c:pt idx="3">
                  <c:v>0.04748658147547754</c:v>
                </c:pt>
                <c:pt idx="4">
                  <c:v>0.006132782514279494</c:v>
                </c:pt>
                <c:pt idx="5">
                  <c:v>0.1411377324572057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75753141273858</c:v>
                </c:pt>
                <c:pt idx="1">
                  <c:v>0.13712865571888133</c:v>
                </c:pt>
                <c:pt idx="2">
                  <c:v>0.12108249529627978</c:v>
                </c:pt>
                <c:pt idx="3">
                  <c:v>0.12056282391705227</c:v>
                </c:pt>
                <c:pt idx="4">
                  <c:v>0.1160525568580709</c:v>
                </c:pt>
                <c:pt idx="5">
                  <c:v>0.04604403867815321</c:v>
                </c:pt>
                <c:pt idx="6">
                  <c:v>0.04602266522304838</c:v>
                </c:pt>
                <c:pt idx="7">
                  <c:v>0.024874021423378502</c:v>
                </c:pt>
                <c:pt idx="8">
                  <c:v>4.633515449731818e-05</c:v>
                </c:pt>
                <c:pt idx="9">
                  <c:v>0.0506110936032525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46492407697185</c:v>
                </c:pt>
                <c:pt idx="1">
                  <c:v>0.11270431289730427</c:v>
                </c:pt>
                <c:pt idx="2">
                  <c:v>0.10898820760830955</c:v>
                </c:pt>
                <c:pt idx="3">
                  <c:v>0.07562371661877831</c:v>
                </c:pt>
                <c:pt idx="4">
                  <c:v>0.07232427407810879</c:v>
                </c:pt>
                <c:pt idx="5">
                  <c:v>0.07230305283829977</c:v>
                </c:pt>
                <c:pt idx="6">
                  <c:v>0.06657175075327938</c:v>
                </c:pt>
                <c:pt idx="7">
                  <c:v>0.042492286091768604</c:v>
                </c:pt>
                <c:pt idx="8">
                  <c:v>3.980537361597338e-07</c:v>
                </c:pt>
                <c:pt idx="9">
                  <c:v>0.084342760290696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4161928184302117</c:v>
                </c:pt>
                <c:pt idx="2">
                  <c:v>0.16038702948339015</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5401181102</c:v>
                </c:pt>
                <c:pt idx="1">
                  <c:v>0.13266342070404558</c:v>
                </c:pt>
                <c:pt idx="2">
                  <c:v>0.1359584227788637</c:v>
                </c:pt>
                <c:pt idx="3">
                  <c:v>0.09508057537878767</c:v>
                </c:pt>
                <c:pt idx="4">
                  <c:v>0.09469593386187383</c:v>
                </c:pt>
                <c:pt idx="5">
                  <c:v>0.07268377020561195</c:v>
                </c:pt>
                <c:pt idx="6">
                  <c:v>0.06265220714040651</c:v>
                </c:pt>
                <c:pt idx="7">
                  <c:v>0.06859814731938554</c:v>
                </c:pt>
                <c:pt idx="8">
                  <c:v>0.03611811919844077</c:v>
                </c:pt>
                <c:pt idx="9">
                  <c:v>0.0168638632944742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260660733115293</c:v>
                </c:pt>
                <c:pt idx="1">
                  <c:v>0.23912405649980042</c:v>
                </c:pt>
                <c:pt idx="2">
                  <c:v>0.15378755383982987</c:v>
                </c:pt>
                <c:pt idx="3">
                  <c:v>0.1457086006708011</c:v>
                </c:pt>
                <c:pt idx="4">
                  <c:v>0.11517330021029555</c:v>
                </c:pt>
                <c:pt idx="5">
                  <c:v>0.015075152360016442</c:v>
                </c:pt>
                <c:pt idx="6">
                  <c:v>0.0050652631077273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1126786360439</c:v>
                </c:pt>
                <c:pt idx="1">
                  <c:v>0.1576792121431938</c:v>
                </c:pt>
                <c:pt idx="2">
                  <c:v>0.10677695117169655</c:v>
                </c:pt>
                <c:pt idx="3">
                  <c:v>0.11255945483328154</c:v>
                </c:pt>
                <c:pt idx="4">
                  <c:v>0.0929670094226846</c:v>
                </c:pt>
                <c:pt idx="5">
                  <c:v>0.08948809369909215</c:v>
                </c:pt>
                <c:pt idx="6">
                  <c:v>0.05618248270477455</c:v>
                </c:pt>
                <c:pt idx="7">
                  <c:v>0.049247567444617266</c:v>
                </c:pt>
                <c:pt idx="8">
                  <c:v>0.029508892907504008</c:v>
                </c:pt>
                <c:pt idx="9">
                  <c:v>0.0134776570371116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085903083700441</c:v>
                </c:pt>
                <c:pt idx="1">
                  <c:v>0.18955580029368577</c:v>
                </c:pt>
                <c:pt idx="2">
                  <c:v>0.001853891336270190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558071330031105</c:v>
                </c:pt>
                <c:pt idx="1">
                  <c:v>0.04327583868053227</c:v>
                </c:pt>
                <c:pt idx="2">
                  <c:v>0.00091702831635721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24282646886589</c:v>
                </c:pt>
                <c:pt idx="1">
                  <c:v>0.0375717353113410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2/12/2024</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3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3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3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3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3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3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3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7.xml"/></Relationships>
</file>

<file path=ppt/notesSlides/_rels/notesSlide3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8.xml"/></Relationships>
</file>

<file path=ppt/notesSlides/_rels/notesSlide4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2.xml"/></Relationships>
</file>

<file path=ppt/notesSlides/_rels/notesSlide4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8.xml"/></Relationships>
</file>

<file path=ppt/notesSlides/_rels/notesSlide4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9.xml"/></Relationships>
</file>

<file path=ppt/notesSlides/_rels/notesSlide4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3.xml"/></Relationships>
</file>

<file path=ppt/notesSlides/_rels/notesSlide4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9.xml"/></Relationships>
</file>

<file path=ppt/notesSlides/_rels/notesSlide4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0.xml"/></Relationships>
</file>

<file path=ppt/notesSlides/_rels/notesSlide4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4.xml"/></Relationships>
</file>

<file path=ppt/notesSlides/_rels/notesSlide4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6.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0.xml"/></Relationships>
</file>

<file path=ppt/notesSlides/_rels/notesSlide4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1.xml"/></Relationships>
</file>

<file path=ppt/notesSlides/_rels/notesSlide4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4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7.xml"/></Relationships>
</file>

<file path=ppt/notesSlides/_rels/notesSlide4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4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4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8.xml"/></Relationships>
</file>

<file path=ppt/notesSlides/_rels/notesSlide4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2.xml"/></Relationships>
</file>

<file path=ppt/notesSlides/_rels/notesSlide4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3.xml"/></Relationships>
</file>

<file path=ppt/notesSlides/_rels/notesSlide4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9.xml"/></Relationships>
</file>

<file path=ppt/notesSlides/_rels/notesSlide4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4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6.xml"/></Relationships>
</file>

<file path=ppt/notesSlides/_rels/notesSlide4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4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1.xml"/></Relationships>
</file>

<file path=ppt/notesSlides/_rels/notesSlide4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5.xml"/></Relationships>
</file>

<file path=ppt/notesSlides/_rels/notesSlide4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7.xml"/></Relationships>
</file>

<file path=ppt/notesSlides/_rels/notesSlide4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1.xml"/></Relationships>
</file>

<file path=ppt/notesSlides/_rels/notesSlide4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2.xml"/></Relationships>
</file>

<file path=ppt/notesSlides/_rels/notesSlide4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2.xml"/></Relationships>
</file>

<file path=ppt/notesSlides/_rels/notesSlide4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4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7.xml"/></Relationships>
</file>

<file path=ppt/notesSlides/_rels/notesSlide4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8.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5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5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9.xml"/></Relationships>
</file>

<file path=ppt/notesSlides/_rels/notesSlide5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3.xml"/></Relationships>
</file>

<file path=ppt/notesSlides/_rels/notesSlide5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9.xml"/></Relationships>
</file>

<file path=ppt/notesSlides/_rels/notesSlide5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0.xml"/></Relationships>
</file>

<file path=ppt/notesSlides/_rels/notesSlide5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4.xml"/></Relationships>
</file>

<file path=ppt/notesSlides/_rels/notesSlide5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6.xml"/></Relationships>
</file>

<file path=ppt/notesSlides/_rels/notesSlide5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7.xml"/></Relationships>
</file>

<file path=ppt/notesSlides/_rels/notesSlide5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5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5.xml"/></Relationships>
</file>

<file path=ppt/notesSlides/_rels/notesSlide5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5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8.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2.xml"/></Relationships>
</file>

<file path=ppt/notesSlides/_rels/notesSlide5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8.xml"/></Relationships>
</file>

<file path=ppt/notesSlides/_rels/notesSlide5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9.xml"/></Relationships>
</file>

<file path=ppt/notesSlides/_rels/notesSlide5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3.xml"/></Relationships>
</file>

<file path=ppt/notesSlides/_rels/notesSlide5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9.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_rels/notesSlide5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4.xml"/></Relationships>
</file>

<file path=ppt/notesSlides/_rels/notesSlide5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6.xml"/></Relationships>
</file>

<file path=ppt/notesSlides/_rels/notesSlide5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0.xml"/></Relationships>
</file>

<file path=ppt/notesSlides/_rels/notesSlide5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1.xml"/></Relationships>
</file>

<file path=ppt/notesSlides/_rels/notesSlide5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5.xml"/></Relationships>
</file>

<file path=ppt/notesSlides/_rels/notesSlide5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7.xml"/></Relationships>
</file>

<file path=ppt/notesSlides/_rels/notesSlide5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1.xml"/></Relationships>
</file>

<file path=ppt/notesSlides/_rels/notesSlide5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2.xml"/></Relationships>
</file>

<file path=ppt/notesSlides/_rels/notesSlide5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8.xml"/></Relationships>
</file>

<file path=ppt/notesSlides/_rels/notesSlide5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2.xml"/></Relationships>
</file>

<file path=ppt/notesSlides/_rels/notesSlide5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3.xml"/></Relationships>
</file>

<file path=ppt/notesSlides/_rels/notesSlide5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2.xml"/></Relationships>
</file>

<file path=ppt/notesSlides/_rels/notesSlide6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9.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3.xml"/></Relationships>
</file>

<file path=ppt/notesSlides/_rels/notesSlide6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6.xml"/></Relationships>
</file>

<file path=ppt/notesSlides/_rels/notesSlide6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0.xml"/></Relationships>
</file>

<file path=ppt/notesSlides/_rels/notesSlide6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4.xml"/></Relationships>
</file>

<file path=ppt/notesSlides/_rels/notesSlide6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5.xml"/></Relationships>
</file>

<file path=ppt/notesSlides/_rels/notesSlide6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6.xml"/></Relationships>
</file>

<file path=ppt/notesSlides/_rels/notesSlide6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7.xml"/></Relationships>
</file>

<file path=ppt/notesSlides/_rels/notesSlide6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1.xml"/></Relationships>
</file>

<file path=ppt/notesSlides/_rels/notesSlide6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5.xml"/></Relationships>
</file>

<file path=ppt/notesSlides/_rels/notesSlide6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7.xml"/></Relationships>
</file>

<file path=ppt/notesSlides/_rels/notesSlide6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8.xml"/></Relationships>
</file>

<file path=ppt/notesSlides/_rels/notesSlide6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2.xml"/></Relationships>
</file>

<file path=ppt/notesSlides/_rels/notesSlide6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8.xml"/></Relationships>
</file>

<file path=ppt/notesSlides/_rels/notesSlide6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9.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3.xml"/></Relationships>
</file>

<file path=ppt/notesSlides/_rels/notesSlide6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9.xml"/></Relationships>
</file>

<file path=ppt/notesSlides/_rels/notesSlide6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0.xml"/></Relationships>
</file>

<file path=ppt/notesSlides/_rels/notesSlide6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4.xml"/></Relationships>
</file>

<file path=ppt/notesSlides/_rels/notesSlide6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6.xml"/></Relationships>
</file>

<file path=ppt/notesSlides/_rels/notesSlide6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7.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1.xml"/></Relationships>
</file>

<file path=ppt/notesSlides/_rels/notesSlide6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5.xml"/></Relationships>
</file>

<file path=ppt/notesSlides/_rels/notesSlide6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7.xml"/></Relationships>
</file>

<file path=ppt/notesSlides/_rels/notesSlide6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8.xml"/></Relationships>
</file>

<file path=ppt/notesSlides/_rels/notesSlide6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2.xml"/></Relationships>
</file>

<file path=ppt/notesSlides/_rels/notesSlide6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8.xml"/></Relationships>
</file>

<file path=ppt/notesSlides/_rels/notesSlide6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9.xml"/></Relationships>
</file>

<file path=ppt/notesSlides/_rels/notesSlide6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3.xml"/></Relationships>
</file>

<file path=ppt/notesSlides/_rels/notesSlide6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8.xml"/></Relationships>
</file>

<file path=ppt/notesSlides/_rels/notesSlide7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2.xml"/></Relationships>
</file>

<file path=ppt/notesSlides/_rels/notesSlide7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3.xml"/></Relationships>
</file>

<file path=ppt/notesSlides/_rels/notesSlide7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9.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3.xml"/></Relationships>
</file>

<file path=ppt/notesSlides/_rels/notesSlide7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4.xml"/></Relationships>
</file>

<file path=ppt/notesSlides/_rels/notesSlide7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6.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0.xml"/></Relationships>
</file>

<file path=ppt/notesSlides/_rels/notesSlide7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4.xml"/></Relationships>
</file>

<file path=ppt/notesSlides/_rels/notesSlide7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5.xml"/></Relationships>
</file>

<file path=ppt/notesSlides/_rels/notesSlide7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7.xml"/></Relationships>
</file>

<file path=ppt/notesSlides/_rels/notesSlide7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1.xml"/></Relationships>
</file>

<file path=ppt/notesSlides/_rels/notesSlide7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5.xml"/></Relationships>
</file>

<file path=ppt/notesSlides/_rels/notesSlide7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8.xml"/></Relationships>
</file>

<file path=ppt/notesSlides/_rels/notesSlide7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2.xml"/></Relationships>
</file>

<file path=ppt/notesSlides/_rels/notesSlide7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9.xml"/></Relationships>
</file>

<file path=ppt/notesSlides/_rels/notesSlide7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3.xml"/></Relationships>
</file>

<file path=ppt/notesSlides/_rels/notesSlide7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6.xml"/></Relationships>
</file>

<file path=ppt/notesSlides/_rels/notesSlide7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0.xml"/></Relationships>
</file>

<file path=ppt/notesSlides/_rels/notesSlide7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4.xml"/></Relationships>
</file>

<file path=ppt/notesSlides/_rels/notesSlide7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5.xml"/></Relationships>
</file>

<file path=ppt/notesSlides/_rels/notesSlide7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6.xml"/></Relationships>
</file>

<file path=ppt/notesSlides/_rels/notesSlide7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7.xml"/></Relationships>
</file>

<file path=ppt/notesSlides/_rels/notesSlide7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1.xml"/></Relationships>
</file>

<file path=ppt/notesSlides/_rels/notesSlide7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5.xml"/></Relationships>
</file>

<file path=ppt/notesSlides/_rels/notesSlide7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7.xml"/></Relationships>
</file>

<file path=ppt/notesSlides/_rels/notesSlide7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8.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2.xml"/></Relationships>
</file>

<file path=ppt/notesSlides/_rels/notesSlide7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8.xml"/></Relationships>
</file>

<file path=ppt/notesSlides/_rels/notesSlide7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9.xml"/></Relationships>
</file>

<file path=ppt/notesSlides/_rels/notesSlide7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3.xml"/></Relationships>
</file>

<file path=ppt/notesSlides/_rels/notesSlide7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8.xml"/></Relationships>
</file>

<file path=ppt/notesSlides/_rels/notesSlide8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2.xml"/></Relationships>
</file>

<file path=ppt/notesSlides/_rels/notesSlide8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3.xml"/></Relationships>
</file>

<file path=ppt/notesSlides/_rels/notesSlide8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9.xml"/></Relationships>
</file>

<file path=ppt/notesSlides/_rels/notesSlide8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3.xml"/></Relationships>
</file>

<file path=ppt/notesSlides/_rels/notesSlide8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4.xml"/></Relationships>
</file>

<file path=ppt/notesSlides/_rels/notesSlide8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6.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0.xml"/></Relationships>
</file>

<file path=ppt/notesSlides/_rels/notesSlide8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5.xml"/></Relationships>
</file>

<file path=ppt/notesSlides/_rels/notesSlide8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7.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2/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2/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2/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2/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46.xml"/><Relationship Id="rId4" Type="http://schemas.openxmlformats.org/officeDocument/2006/relationships/chart" Target="../charts/chart47.xml"/><Relationship Id="rId5" Type="http://schemas.openxmlformats.org/officeDocument/2006/relationships/chart" Target="../charts/chart48.xml"/><Relationship Id="rId6" Type="http://schemas.openxmlformats.org/officeDocument/2006/relationships/chart" Target="../charts/chart49.xml"/><Relationship Id="rId7" Type="http://schemas.openxmlformats.org/officeDocument/2006/relationships/chart" Target="../charts/chart5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xml"/><Relationship Id="rId3" Type="http://schemas.openxmlformats.org/officeDocument/2006/relationships/chart" Target="../charts/chart501.xml"/><Relationship Id="rId4" Type="http://schemas.openxmlformats.org/officeDocument/2006/relationships/chart" Target="../charts/chart502.xml"/><Relationship Id="rId5" Type="http://schemas.openxmlformats.org/officeDocument/2006/relationships/chart" Target="../charts/chart503.xml"/><Relationship Id="rId6" Type="http://schemas.openxmlformats.org/officeDocument/2006/relationships/chart" Target="../charts/chart504.xml"/><Relationship Id="rId7" Type="http://schemas.openxmlformats.org/officeDocument/2006/relationships/chart" Target="../charts/chart505.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5.xml"/><Relationship Id="rId3" Type="http://schemas.openxmlformats.org/officeDocument/2006/relationships/chart" Target="../charts/chart521.xml"/><Relationship Id="rId4" Type="http://schemas.openxmlformats.org/officeDocument/2006/relationships/chart" Target="../charts/chart522.xml"/><Relationship Id="rId5" Type="http://schemas.openxmlformats.org/officeDocument/2006/relationships/chart" Target="../charts/chart523.xml"/><Relationship Id="rId6" Type="http://schemas.openxmlformats.org/officeDocument/2006/relationships/chart" Target="../charts/chart524.xml"/><Relationship Id="rId7" Type="http://schemas.openxmlformats.org/officeDocument/2006/relationships/chart" Target="../charts/chart52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8.xml"/><Relationship Id="rId3" Type="http://schemas.openxmlformats.org/officeDocument/2006/relationships/chart" Target="../charts/chart536.xml"/><Relationship Id="rId4" Type="http://schemas.openxmlformats.org/officeDocument/2006/relationships/chart" Target="../charts/chart537.xml"/><Relationship Id="rId5" Type="http://schemas.openxmlformats.org/officeDocument/2006/relationships/chart" Target="../charts/chart538.xml"/><Relationship Id="rId6" Type="http://schemas.openxmlformats.org/officeDocument/2006/relationships/chart" Target="../charts/chart539.xml"/><Relationship Id="rId7" Type="http://schemas.openxmlformats.org/officeDocument/2006/relationships/chart" Target="../charts/chart54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2.xml"/><Relationship Id="rId3" Type="http://schemas.openxmlformats.org/officeDocument/2006/relationships/chart" Target="../charts/chart556.xml"/><Relationship Id="rId4" Type="http://schemas.openxmlformats.org/officeDocument/2006/relationships/chart" Target="../charts/chart557.xml"/><Relationship Id="rId5" Type="http://schemas.openxmlformats.org/officeDocument/2006/relationships/chart" Target="../charts/chart558.xml"/><Relationship Id="rId6" Type="http://schemas.openxmlformats.org/officeDocument/2006/relationships/chart" Target="../charts/chart559.xml"/><Relationship Id="rId7" Type="http://schemas.openxmlformats.org/officeDocument/2006/relationships/chart" Target="../charts/chart560.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3.xml"/><Relationship Id="rId3" Type="http://schemas.openxmlformats.org/officeDocument/2006/relationships/chart" Target="../charts/chart561.xml"/><Relationship Id="rId4" Type="http://schemas.openxmlformats.org/officeDocument/2006/relationships/chart" Target="../charts/chart562.xml"/><Relationship Id="rId5" Type="http://schemas.openxmlformats.org/officeDocument/2006/relationships/chart" Target="../charts/chart563.xml"/><Relationship Id="rId6" Type="http://schemas.openxmlformats.org/officeDocument/2006/relationships/chart" Target="../charts/chart564.xml"/><Relationship Id="rId7" Type="http://schemas.openxmlformats.org/officeDocument/2006/relationships/chart" Target="../charts/chart565.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9.xml"/><Relationship Id="rId3" Type="http://schemas.openxmlformats.org/officeDocument/2006/relationships/chart" Target="../charts/chart591.xml"/><Relationship Id="rId4" Type="http://schemas.openxmlformats.org/officeDocument/2006/relationships/chart" Target="../charts/chart592.xml"/><Relationship Id="rId5" Type="http://schemas.openxmlformats.org/officeDocument/2006/relationships/chart" Target="../charts/chart593.xml"/><Relationship Id="rId6" Type="http://schemas.openxmlformats.org/officeDocument/2006/relationships/chart" Target="../charts/chart594.xml"/><Relationship Id="rId7" Type="http://schemas.openxmlformats.org/officeDocument/2006/relationships/chart" Target="../charts/chart59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3.xml"/><Relationship Id="rId3" Type="http://schemas.openxmlformats.org/officeDocument/2006/relationships/chart" Target="../charts/chart611.xml"/><Relationship Id="rId4" Type="http://schemas.openxmlformats.org/officeDocument/2006/relationships/chart" Target="../charts/chart612.xml"/><Relationship Id="rId5" Type="http://schemas.openxmlformats.org/officeDocument/2006/relationships/chart" Target="../charts/chart613.xml"/><Relationship Id="rId6" Type="http://schemas.openxmlformats.org/officeDocument/2006/relationships/chart" Target="../charts/chart614.xml"/><Relationship Id="rId7" Type="http://schemas.openxmlformats.org/officeDocument/2006/relationships/chart" Target="../charts/chart61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4.xml"/><Relationship Id="rId3" Type="http://schemas.openxmlformats.org/officeDocument/2006/relationships/chart" Target="../charts/chart616.xml"/><Relationship Id="rId4" Type="http://schemas.openxmlformats.org/officeDocument/2006/relationships/chart" Target="../charts/chart617.xml"/><Relationship Id="rId5" Type="http://schemas.openxmlformats.org/officeDocument/2006/relationships/chart" Target="../charts/chart618.xml"/><Relationship Id="rId6" Type="http://schemas.openxmlformats.org/officeDocument/2006/relationships/chart" Target="../charts/chart619.xml"/><Relationship Id="rId7" Type="http://schemas.openxmlformats.org/officeDocument/2006/relationships/chart" Target="../charts/chart62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6.xml"/><Relationship Id="rId3" Type="http://schemas.openxmlformats.org/officeDocument/2006/relationships/chart" Target="../charts/chart626.xml"/><Relationship Id="rId4" Type="http://schemas.openxmlformats.org/officeDocument/2006/relationships/chart" Target="../charts/chart627.xml"/><Relationship Id="rId5" Type="http://schemas.openxmlformats.org/officeDocument/2006/relationships/chart" Target="../charts/chart628.xml"/><Relationship Id="rId6" Type="http://schemas.openxmlformats.org/officeDocument/2006/relationships/chart" Target="../charts/chart629.xml"/><Relationship Id="rId7" Type="http://schemas.openxmlformats.org/officeDocument/2006/relationships/chart" Target="../charts/chart630.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0.xml"/><Relationship Id="rId3" Type="http://schemas.openxmlformats.org/officeDocument/2006/relationships/chart" Target="../charts/chart646.xml"/><Relationship Id="rId4" Type="http://schemas.openxmlformats.org/officeDocument/2006/relationships/chart" Target="../charts/chart647.xml"/><Relationship Id="rId5" Type="http://schemas.openxmlformats.org/officeDocument/2006/relationships/chart" Target="../charts/chart648.xml"/><Relationship Id="rId6" Type="http://schemas.openxmlformats.org/officeDocument/2006/relationships/chart" Target="../charts/chart649.xml"/><Relationship Id="rId7" Type="http://schemas.openxmlformats.org/officeDocument/2006/relationships/chart" Target="../charts/chart650.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4.xml"/><Relationship Id="rId3" Type="http://schemas.openxmlformats.org/officeDocument/2006/relationships/chart" Target="../charts/chart666.xml"/><Relationship Id="rId4" Type="http://schemas.openxmlformats.org/officeDocument/2006/relationships/chart" Target="../charts/chart667.xml"/><Relationship Id="rId5" Type="http://schemas.openxmlformats.org/officeDocument/2006/relationships/chart" Target="../charts/chart668.xml"/><Relationship Id="rId6" Type="http://schemas.openxmlformats.org/officeDocument/2006/relationships/chart" Target="../charts/chart669.xml"/><Relationship Id="rId7" Type="http://schemas.openxmlformats.org/officeDocument/2006/relationships/chart" Target="../charts/chart670.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5.xml"/><Relationship Id="rId3" Type="http://schemas.openxmlformats.org/officeDocument/2006/relationships/chart" Target="../charts/chart671.xml"/><Relationship Id="rId4" Type="http://schemas.openxmlformats.org/officeDocument/2006/relationships/chart" Target="../charts/chart672.xml"/><Relationship Id="rId5" Type="http://schemas.openxmlformats.org/officeDocument/2006/relationships/chart" Target="../charts/chart673.xml"/><Relationship Id="rId6" Type="http://schemas.openxmlformats.org/officeDocument/2006/relationships/chart" Target="../charts/chart674.xml"/><Relationship Id="rId7" Type="http://schemas.openxmlformats.org/officeDocument/2006/relationships/chart" Target="../charts/chart675.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6.xml"/><Relationship Id="rId3" Type="http://schemas.openxmlformats.org/officeDocument/2006/relationships/chart" Target="../charts/chart676.xml"/><Relationship Id="rId4" Type="http://schemas.openxmlformats.org/officeDocument/2006/relationships/chart" Target="../charts/chart677.xml"/><Relationship Id="rId5" Type="http://schemas.openxmlformats.org/officeDocument/2006/relationships/chart" Target="../charts/chart678.xml"/><Relationship Id="rId6" Type="http://schemas.openxmlformats.org/officeDocument/2006/relationships/chart" Target="../charts/chart679.xml"/><Relationship Id="rId7" Type="http://schemas.openxmlformats.org/officeDocument/2006/relationships/chart" Target="../charts/chart680.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7.xml"/><Relationship Id="rId3" Type="http://schemas.openxmlformats.org/officeDocument/2006/relationships/chart" Target="../charts/chart681.xml"/><Relationship Id="rId4" Type="http://schemas.openxmlformats.org/officeDocument/2006/relationships/chart" Target="../charts/chart682.xml"/><Relationship Id="rId5" Type="http://schemas.openxmlformats.org/officeDocument/2006/relationships/chart" Target="../charts/chart683.xml"/><Relationship Id="rId6" Type="http://schemas.openxmlformats.org/officeDocument/2006/relationships/chart" Target="../charts/chart684.xml"/><Relationship Id="rId7" Type="http://schemas.openxmlformats.org/officeDocument/2006/relationships/chart" Target="../charts/chart68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66.xml"/><Relationship Id="rId4" Type="http://schemas.openxmlformats.org/officeDocument/2006/relationships/chart" Target="../charts/chart67.xml"/><Relationship Id="rId5" Type="http://schemas.openxmlformats.org/officeDocument/2006/relationships/chart" Target="../charts/chart68.xml"/><Relationship Id="rId6" Type="http://schemas.openxmlformats.org/officeDocument/2006/relationships/chart" Target="../charts/chart69.xml"/><Relationship Id="rId7" Type="http://schemas.openxmlformats.org/officeDocument/2006/relationships/chart" Target="../charts/chart70.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1.xml"/><Relationship Id="rId3" Type="http://schemas.openxmlformats.org/officeDocument/2006/relationships/chart" Target="../charts/chart701.xml"/><Relationship Id="rId4" Type="http://schemas.openxmlformats.org/officeDocument/2006/relationships/chart" Target="../charts/chart702.xml"/><Relationship Id="rId5" Type="http://schemas.openxmlformats.org/officeDocument/2006/relationships/chart" Target="../charts/chart703.xml"/><Relationship Id="rId6" Type="http://schemas.openxmlformats.org/officeDocument/2006/relationships/chart" Target="../charts/chart704.xml"/><Relationship Id="rId7" Type="http://schemas.openxmlformats.org/officeDocument/2006/relationships/chart" Target="../charts/chart705.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5.xml"/><Relationship Id="rId3" Type="http://schemas.openxmlformats.org/officeDocument/2006/relationships/chart" Target="../charts/chart721.xml"/><Relationship Id="rId4" Type="http://schemas.openxmlformats.org/officeDocument/2006/relationships/chart" Target="../charts/chart722.xml"/><Relationship Id="rId5" Type="http://schemas.openxmlformats.org/officeDocument/2006/relationships/chart" Target="../charts/chart723.xml"/><Relationship Id="rId6" Type="http://schemas.openxmlformats.org/officeDocument/2006/relationships/chart" Target="../charts/chart724.xml"/><Relationship Id="rId7" Type="http://schemas.openxmlformats.org/officeDocument/2006/relationships/chart" Target="../charts/chart72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7.xml"/><Relationship Id="rId3" Type="http://schemas.openxmlformats.org/officeDocument/2006/relationships/chart" Target="../charts/chart731.xml"/><Relationship Id="rId4" Type="http://schemas.openxmlformats.org/officeDocument/2006/relationships/chart" Target="../charts/chart732.xml"/><Relationship Id="rId5" Type="http://schemas.openxmlformats.org/officeDocument/2006/relationships/chart" Target="../charts/chart733.xml"/><Relationship Id="rId6" Type="http://schemas.openxmlformats.org/officeDocument/2006/relationships/chart" Target="../charts/chart734.xml"/><Relationship Id="rId7" Type="http://schemas.openxmlformats.org/officeDocument/2006/relationships/chart" Target="../charts/chart735.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8.xml"/><Relationship Id="rId3" Type="http://schemas.openxmlformats.org/officeDocument/2006/relationships/chart" Target="../charts/chart736.xml"/><Relationship Id="rId4" Type="http://schemas.openxmlformats.org/officeDocument/2006/relationships/chart" Target="../charts/chart737.xml"/><Relationship Id="rId5" Type="http://schemas.openxmlformats.org/officeDocument/2006/relationships/chart" Target="../charts/chart738.xml"/><Relationship Id="rId6" Type="http://schemas.openxmlformats.org/officeDocument/2006/relationships/chart" Target="../charts/chart739.xml"/><Relationship Id="rId7" Type="http://schemas.openxmlformats.org/officeDocument/2006/relationships/chart" Target="../charts/chart740.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2.xml"/><Relationship Id="rId3" Type="http://schemas.openxmlformats.org/officeDocument/2006/relationships/chart" Target="../charts/chart756.xml"/><Relationship Id="rId4" Type="http://schemas.openxmlformats.org/officeDocument/2006/relationships/chart" Target="../charts/chart757.xml"/><Relationship Id="rId5" Type="http://schemas.openxmlformats.org/officeDocument/2006/relationships/chart" Target="../charts/chart758.xml"/><Relationship Id="rId6" Type="http://schemas.openxmlformats.org/officeDocument/2006/relationships/chart" Target="../charts/chart759.xml"/><Relationship Id="rId7" Type="http://schemas.openxmlformats.org/officeDocument/2006/relationships/chart" Target="../charts/chart760.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9.xml"/><Relationship Id="rId3" Type="http://schemas.openxmlformats.org/officeDocument/2006/relationships/chart" Target="../charts/chart791.xml"/><Relationship Id="rId4" Type="http://schemas.openxmlformats.org/officeDocument/2006/relationships/chart" Target="../charts/chart792.xml"/><Relationship Id="rId5" Type="http://schemas.openxmlformats.org/officeDocument/2006/relationships/chart" Target="../charts/chart793.xml"/><Relationship Id="rId6" Type="http://schemas.openxmlformats.org/officeDocument/2006/relationships/chart" Target="../charts/chart794.xml"/><Relationship Id="rId7" Type="http://schemas.openxmlformats.org/officeDocument/2006/relationships/chart" Target="../charts/chart79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chart" Target="../charts/chart76.xml"/><Relationship Id="rId4" Type="http://schemas.openxmlformats.org/officeDocument/2006/relationships/chart" Target="../charts/chart77.xml"/><Relationship Id="rId5" Type="http://schemas.openxmlformats.org/officeDocument/2006/relationships/chart" Target="../charts/chart78.xml"/><Relationship Id="rId6" Type="http://schemas.openxmlformats.org/officeDocument/2006/relationships/chart" Target="../charts/chart79.xml"/><Relationship Id="rId7" Type="http://schemas.openxmlformats.org/officeDocument/2006/relationships/chart" Target="../charts/chart80.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3.xml"/><Relationship Id="rId3" Type="http://schemas.openxmlformats.org/officeDocument/2006/relationships/chart" Target="../charts/chart811.xml"/><Relationship Id="rId4" Type="http://schemas.openxmlformats.org/officeDocument/2006/relationships/chart" Target="../charts/chart812.xml"/><Relationship Id="rId5" Type="http://schemas.openxmlformats.org/officeDocument/2006/relationships/chart" Target="../charts/chart813.xml"/><Relationship Id="rId6" Type="http://schemas.openxmlformats.org/officeDocument/2006/relationships/chart" Target="../charts/chart814.xml"/><Relationship Id="rId7" Type="http://schemas.openxmlformats.org/officeDocument/2006/relationships/chart" Target="../charts/chart815.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6.xml"/><Relationship Id="rId3" Type="http://schemas.openxmlformats.org/officeDocument/2006/relationships/chart" Target="../charts/chart826.xml"/><Relationship Id="rId4" Type="http://schemas.openxmlformats.org/officeDocument/2006/relationships/chart" Target="../charts/chart827.xml"/><Relationship Id="rId5" Type="http://schemas.openxmlformats.org/officeDocument/2006/relationships/chart" Target="../charts/chart828.xml"/><Relationship Id="rId6" Type="http://schemas.openxmlformats.org/officeDocument/2006/relationships/chart" Target="../charts/chart829.xml"/><Relationship Id="rId7" Type="http://schemas.openxmlformats.org/officeDocument/2006/relationships/chart" Target="../charts/chart8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81.xml"/><Relationship Id="rId4" Type="http://schemas.openxmlformats.org/officeDocument/2006/relationships/chart" Target="../charts/chart82.xml"/><Relationship Id="rId5" Type="http://schemas.openxmlformats.org/officeDocument/2006/relationships/chart" Target="../charts/chart83.xml"/><Relationship Id="rId6" Type="http://schemas.openxmlformats.org/officeDocument/2006/relationships/chart" Target="../charts/chart84.xml"/><Relationship Id="rId7" Type="http://schemas.openxmlformats.org/officeDocument/2006/relationships/chart" Target="../charts/chart85.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0.xml"/><Relationship Id="rId3" Type="http://schemas.openxmlformats.org/officeDocument/2006/relationships/chart" Target="../charts/chart846.xml"/><Relationship Id="rId4" Type="http://schemas.openxmlformats.org/officeDocument/2006/relationships/chart" Target="../charts/chart847.xml"/><Relationship Id="rId5" Type="http://schemas.openxmlformats.org/officeDocument/2006/relationships/chart" Target="../charts/chart848.xml"/><Relationship Id="rId6" Type="http://schemas.openxmlformats.org/officeDocument/2006/relationships/chart" Target="../charts/chart849.xml"/><Relationship Id="rId7" Type="http://schemas.openxmlformats.org/officeDocument/2006/relationships/chart" Target="../charts/chart850.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4.xml"/><Relationship Id="rId3" Type="http://schemas.openxmlformats.org/officeDocument/2006/relationships/chart" Target="../charts/chart866.xml"/><Relationship Id="rId4" Type="http://schemas.openxmlformats.org/officeDocument/2006/relationships/chart" Target="../charts/chart867.xml"/><Relationship Id="rId5" Type="http://schemas.openxmlformats.org/officeDocument/2006/relationships/chart" Target="../charts/chart868.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6.xml"/><Relationship Id="rId3" Type="http://schemas.openxmlformats.org/officeDocument/2006/relationships/chart" Target="../charts/chart871.xml"/><Relationship Id="rId4" Type="http://schemas.openxmlformats.org/officeDocument/2006/relationships/chart" Target="../charts/chart872.xml"/><Relationship Id="rId5" Type="http://schemas.openxmlformats.org/officeDocument/2006/relationships/chart" Target="../charts/chart873.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7.xml"/><Relationship Id="rId3" Type="http://schemas.openxmlformats.org/officeDocument/2006/relationships/chart" Target="../charts/chart874.xml"/><Relationship Id="rId4" Type="http://schemas.openxmlformats.org/officeDocument/2006/relationships/chart" Target="../charts/chart875.xml"/><Relationship Id="rId5" Type="http://schemas.openxmlformats.org/officeDocument/2006/relationships/chart" Target="../charts/chart876.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1.xml"/><Relationship Id="rId3" Type="http://schemas.openxmlformats.org/officeDocument/2006/relationships/chart" Target="../charts/chart886.xml"/><Relationship Id="rId4" Type="http://schemas.openxmlformats.org/officeDocument/2006/relationships/chart" Target="../charts/chart887.xml"/><Relationship Id="rId5" Type="http://schemas.openxmlformats.org/officeDocument/2006/relationships/chart" Target="../charts/chart888.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5.xml"/><Relationship Id="rId3" Type="http://schemas.openxmlformats.org/officeDocument/2006/relationships/chart" Target="../charts/chart898.xml"/><Relationship Id="rId4" Type="http://schemas.openxmlformats.org/officeDocument/2006/relationships/chart" Target="../charts/chart899.xml"/><Relationship Id="rId5" Type="http://schemas.openxmlformats.org/officeDocument/2006/relationships/chart" Target="../charts/chart900.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7.xml"/><Relationship Id="rId3" Type="http://schemas.openxmlformats.org/officeDocument/2006/relationships/chart" Target="../charts/chart903.xml"/><Relationship Id="rId4" Type="http://schemas.openxmlformats.org/officeDocument/2006/relationships/chart" Target="../charts/chart904.xml"/><Relationship Id="rId5" Type="http://schemas.openxmlformats.org/officeDocument/2006/relationships/chart" Target="../charts/chart905.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8.xml"/><Relationship Id="rId3" Type="http://schemas.openxmlformats.org/officeDocument/2006/relationships/chart" Target="../charts/chart906.xml"/><Relationship Id="rId4" Type="http://schemas.openxmlformats.org/officeDocument/2006/relationships/chart" Target="../charts/chart907.xml"/><Relationship Id="rId5" Type="http://schemas.openxmlformats.org/officeDocument/2006/relationships/chart" Target="../charts/chart908.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2.xml"/><Relationship Id="rId3" Type="http://schemas.openxmlformats.org/officeDocument/2006/relationships/chart" Target="../charts/chart918.xml"/><Relationship Id="rId4" Type="http://schemas.openxmlformats.org/officeDocument/2006/relationships/chart" Target="../charts/chart919.xml"/><Relationship Id="rId5" Type="http://schemas.openxmlformats.org/officeDocument/2006/relationships/chart" Target="../charts/chart920.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7.xml"/><Relationship Id="rId3" Type="http://schemas.openxmlformats.org/officeDocument/2006/relationships/chart" Target="../charts/chart932.xml"/><Relationship Id="rId4" Type="http://schemas.openxmlformats.org/officeDocument/2006/relationships/chart" Target="../charts/chart933.xml"/><Relationship Id="rId5" Type="http://schemas.openxmlformats.org/officeDocument/2006/relationships/chart" Target="../charts/chart9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6.xml"/><Relationship Id="rId4" Type="http://schemas.openxmlformats.org/officeDocument/2006/relationships/chart" Target="../charts/chart7.xml"/><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1.xml"/><Relationship Id="rId3" Type="http://schemas.openxmlformats.org/officeDocument/2006/relationships/chart" Target="../charts/chart944.xml"/><Relationship Id="rId4" Type="http://schemas.openxmlformats.org/officeDocument/2006/relationships/chart" Target="../charts/chart945.xml"/><Relationship Id="rId5" Type="http://schemas.openxmlformats.org/officeDocument/2006/relationships/chart" Target="../charts/chart946.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2.xml"/><Relationship Id="rId3" Type="http://schemas.openxmlformats.org/officeDocument/2006/relationships/chart" Target="../charts/chart947.xml"/><Relationship Id="rId4" Type="http://schemas.openxmlformats.org/officeDocument/2006/relationships/chart" Target="../charts/chart948.xml"/><Relationship Id="rId5" Type="http://schemas.openxmlformats.org/officeDocument/2006/relationships/chart" Target="../charts/chart949.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8.xml"/><Relationship Id="rId3" Type="http://schemas.openxmlformats.org/officeDocument/2006/relationships/chart" Target="../charts/chart964.xml"/><Relationship Id="rId4" Type="http://schemas.openxmlformats.org/officeDocument/2006/relationships/chart" Target="../charts/chart965.xml"/><Relationship Id="rId5" Type="http://schemas.openxmlformats.org/officeDocument/2006/relationships/chart" Target="../charts/chart9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chart" Target="../charts/chart101.xml"/><Relationship Id="rId4" Type="http://schemas.openxmlformats.org/officeDocument/2006/relationships/chart" Target="../charts/chart102.xml"/><Relationship Id="rId5" Type="http://schemas.openxmlformats.org/officeDocument/2006/relationships/chart" Target="../charts/chart103.xml"/><Relationship Id="rId6" Type="http://schemas.openxmlformats.org/officeDocument/2006/relationships/chart" Target="../charts/chart104.xml"/><Relationship Id="rId7" Type="http://schemas.openxmlformats.org/officeDocument/2006/relationships/chart" Target="../charts/chart105.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2.xml"/><Relationship Id="rId3" Type="http://schemas.openxmlformats.org/officeDocument/2006/relationships/chart" Target="../charts/chart976.xml"/><Relationship Id="rId4" Type="http://schemas.openxmlformats.org/officeDocument/2006/relationships/chart" Target="../charts/chart977.xml"/><Relationship Id="rId5" Type="http://schemas.openxmlformats.org/officeDocument/2006/relationships/chart" Target="../charts/chart978.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3.xml"/><Relationship Id="rId3" Type="http://schemas.openxmlformats.org/officeDocument/2006/relationships/chart" Target="../charts/chart979.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9.xml"/><Relationship Id="rId3" Type="http://schemas.openxmlformats.org/officeDocument/2006/relationships/chart" Target="../charts/chart995.xml"/><Relationship Id="rId4" Type="http://schemas.openxmlformats.org/officeDocument/2006/relationships/chart" Target="../charts/chart996.xml"/><Relationship Id="rId5" Type="http://schemas.openxmlformats.org/officeDocument/2006/relationships/chart" Target="../charts/chart997.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3.xml"/><Relationship Id="rId3" Type="http://schemas.openxmlformats.org/officeDocument/2006/relationships/chart" Target="../charts/chart1007.xml"/><Relationship Id="rId4" Type="http://schemas.openxmlformats.org/officeDocument/2006/relationships/chart" Target="../charts/chart1008.xml"/><Relationship Id="rId5" Type="http://schemas.openxmlformats.org/officeDocument/2006/relationships/chart" Target="../charts/chart1009.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4.xml"/><Relationship Id="rId3" Type="http://schemas.openxmlformats.org/officeDocument/2006/relationships/chart" Target="../charts/chart1010.xml"/><Relationship Id="rId4" Type="http://schemas.openxmlformats.org/officeDocument/2006/relationships/chart" Target="../charts/chart1011.xml"/><Relationship Id="rId5" Type="http://schemas.openxmlformats.org/officeDocument/2006/relationships/chart" Target="../charts/chart1012.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6.xml"/><Relationship Id="rId3" Type="http://schemas.openxmlformats.org/officeDocument/2006/relationships/chart" Target="../charts/chart1016.xml"/><Relationship Id="rId4" Type="http://schemas.openxmlformats.org/officeDocument/2006/relationships/chart" Target="../charts/chart1017.xml"/><Relationship Id="rId5" Type="http://schemas.openxmlformats.org/officeDocument/2006/relationships/chart" Target="../charts/chart1018.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0.xml"/><Relationship Id="rId3" Type="http://schemas.openxmlformats.org/officeDocument/2006/relationships/chart" Target="../charts/chart1028.xml"/><Relationship Id="rId4" Type="http://schemas.openxmlformats.org/officeDocument/2006/relationships/chart" Target="../charts/chart1029.xml"/><Relationship Id="rId5" Type="http://schemas.openxmlformats.org/officeDocument/2006/relationships/chart" Target="../charts/chart1030.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4.xml"/><Relationship Id="rId3" Type="http://schemas.openxmlformats.org/officeDocument/2006/relationships/chart" Target="../charts/chart1040.xml"/><Relationship Id="rId4" Type="http://schemas.openxmlformats.org/officeDocument/2006/relationships/chart" Target="../charts/chart1041.xml"/><Relationship Id="rId5" Type="http://schemas.openxmlformats.org/officeDocument/2006/relationships/chart" Target="../charts/chart1042.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5.xml"/><Relationship Id="rId3" Type="http://schemas.openxmlformats.org/officeDocument/2006/relationships/chart" Target="../charts/chart1043.xml"/><Relationship Id="rId4" Type="http://schemas.openxmlformats.org/officeDocument/2006/relationships/chart" Target="../charts/chart1044.xml"/><Relationship Id="rId5" Type="http://schemas.openxmlformats.org/officeDocument/2006/relationships/chart" Target="../charts/chart1045.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7.xml"/><Relationship Id="rId3" Type="http://schemas.openxmlformats.org/officeDocument/2006/relationships/chart" Target="../charts/chart1049.xml"/><Relationship Id="rId4" Type="http://schemas.openxmlformats.org/officeDocument/2006/relationships/chart" Target="../charts/chart1050.xml"/><Relationship Id="rId5" Type="http://schemas.openxmlformats.org/officeDocument/2006/relationships/chart" Target="../charts/chart1051.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1.xml"/><Relationship Id="rId3" Type="http://schemas.openxmlformats.org/officeDocument/2006/relationships/chart" Target="../charts/chart1061.xml"/><Relationship Id="rId4" Type="http://schemas.openxmlformats.org/officeDocument/2006/relationships/chart" Target="../charts/chart1062.xml"/><Relationship Id="rId5" Type="http://schemas.openxmlformats.org/officeDocument/2006/relationships/chart" Target="../charts/chart1063.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5.xml"/><Relationship Id="rId3" Type="http://schemas.openxmlformats.org/officeDocument/2006/relationships/chart" Target="../charts/chart1073.xml"/><Relationship Id="rId4" Type="http://schemas.openxmlformats.org/officeDocument/2006/relationships/chart" Target="../charts/chart1074.xml"/><Relationship Id="rId5" Type="http://schemas.openxmlformats.org/officeDocument/2006/relationships/chart" Target="../charts/chart1075.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8.xml"/><Relationship Id="rId3" Type="http://schemas.openxmlformats.org/officeDocument/2006/relationships/chart" Target="../charts/chart108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121.xml"/><Relationship Id="rId4" Type="http://schemas.openxmlformats.org/officeDocument/2006/relationships/chart" Target="../charts/chart122.xml"/><Relationship Id="rId5" Type="http://schemas.openxmlformats.org/officeDocument/2006/relationships/chart" Target="../charts/chart123.xml"/><Relationship Id="rId6" Type="http://schemas.openxmlformats.org/officeDocument/2006/relationships/chart" Target="../charts/chart124.xml"/><Relationship Id="rId7" Type="http://schemas.openxmlformats.org/officeDocument/2006/relationships/chart" Target="../charts/chart125.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2.xml"/><Relationship Id="rId3" Type="http://schemas.openxmlformats.org/officeDocument/2006/relationships/chart" Target="../charts/chart1092.xml"/><Relationship Id="rId4" Type="http://schemas.openxmlformats.org/officeDocument/2006/relationships/chart" Target="../charts/chart1093.xml"/><Relationship Id="rId5" Type="http://schemas.openxmlformats.org/officeDocument/2006/relationships/chart" Target="../charts/chart1094.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9.xml"/><Relationship Id="rId3" Type="http://schemas.openxmlformats.org/officeDocument/2006/relationships/chart" Target="../charts/chart1113.xml"/><Relationship Id="rId4" Type="http://schemas.openxmlformats.org/officeDocument/2006/relationships/chart" Target="../charts/chart1114.xml"/><Relationship Id="rId5" Type="http://schemas.openxmlformats.org/officeDocument/2006/relationships/chart" Target="../charts/chart1115.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3.xml"/><Relationship Id="rId3" Type="http://schemas.openxmlformats.org/officeDocument/2006/relationships/chart" Target="../charts/chart1125.xml"/><Relationship Id="rId4" Type="http://schemas.openxmlformats.org/officeDocument/2006/relationships/chart" Target="../charts/chart1126.xml"/><Relationship Id="rId5" Type="http://schemas.openxmlformats.org/officeDocument/2006/relationships/chart" Target="../charts/chart1127.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4.xml"/><Relationship Id="rId3" Type="http://schemas.openxmlformats.org/officeDocument/2006/relationships/chart" Target="../charts/chart1128.xml"/><Relationship Id="rId4" Type="http://schemas.openxmlformats.org/officeDocument/2006/relationships/chart" Target="../charts/chart1129.xml"/><Relationship Id="rId5" Type="http://schemas.openxmlformats.org/officeDocument/2006/relationships/chart" Target="../charts/chart1130.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6.xml"/><Relationship Id="rId3" Type="http://schemas.openxmlformats.org/officeDocument/2006/relationships/chart" Target="../charts/chart1134.xml"/><Relationship Id="rId4" Type="http://schemas.openxmlformats.org/officeDocument/2006/relationships/chart" Target="../charts/chart1135.xml"/><Relationship Id="rId5" Type="http://schemas.openxmlformats.org/officeDocument/2006/relationships/chart" Target="../charts/chart11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131.xml"/><Relationship Id="rId4" Type="http://schemas.openxmlformats.org/officeDocument/2006/relationships/chart" Target="../charts/chart132.xml"/><Relationship Id="rId5" Type="http://schemas.openxmlformats.org/officeDocument/2006/relationships/chart" Target="../charts/chart133.xml"/><Relationship Id="rId6" Type="http://schemas.openxmlformats.org/officeDocument/2006/relationships/chart" Target="../charts/chart134.xml"/><Relationship Id="rId7" Type="http://schemas.openxmlformats.org/officeDocument/2006/relationships/chart" Target="../charts/chart135.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0.xml"/><Relationship Id="rId3" Type="http://schemas.openxmlformats.org/officeDocument/2006/relationships/chart" Target="../charts/chart1146.xml"/><Relationship Id="rId4" Type="http://schemas.openxmlformats.org/officeDocument/2006/relationships/chart" Target="../charts/chart1147.xml"/><Relationship Id="rId5" Type="http://schemas.openxmlformats.org/officeDocument/2006/relationships/chart" Target="../charts/chart1148.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4.xml"/><Relationship Id="rId3" Type="http://schemas.openxmlformats.org/officeDocument/2006/relationships/chart" Target="../charts/chart1158.xml"/><Relationship Id="rId4" Type="http://schemas.openxmlformats.org/officeDocument/2006/relationships/chart" Target="../charts/chart1159.xml"/><Relationship Id="rId5" Type="http://schemas.openxmlformats.org/officeDocument/2006/relationships/chart" Target="../charts/chart1160.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5.xml"/><Relationship Id="rId3" Type="http://schemas.openxmlformats.org/officeDocument/2006/relationships/chart" Target="../charts/chart1161.xml"/><Relationship Id="rId4" Type="http://schemas.openxmlformats.org/officeDocument/2006/relationships/chart" Target="../charts/chart1162.xml"/><Relationship Id="rId5" Type="http://schemas.openxmlformats.org/officeDocument/2006/relationships/chart" Target="../charts/chart1163.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6.xml"/><Relationship Id="rId3" Type="http://schemas.openxmlformats.org/officeDocument/2006/relationships/chart" Target="../charts/chart1164.xml"/><Relationship Id="rId4" Type="http://schemas.openxmlformats.org/officeDocument/2006/relationships/chart" Target="../charts/chart1165.xml"/><Relationship Id="rId5" Type="http://schemas.openxmlformats.org/officeDocument/2006/relationships/chart" Target="../charts/chart1166.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7.xml"/><Relationship Id="rId3" Type="http://schemas.openxmlformats.org/officeDocument/2006/relationships/chart" Target="../charts/chart1167.xml"/><Relationship Id="rId4" Type="http://schemas.openxmlformats.org/officeDocument/2006/relationships/chart" Target="../charts/chart1168.xml"/><Relationship Id="rId5" Type="http://schemas.openxmlformats.org/officeDocument/2006/relationships/chart" Target="../charts/chart116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136.xml"/><Relationship Id="rId4" Type="http://schemas.openxmlformats.org/officeDocument/2006/relationships/chart" Target="../charts/chart137.xml"/><Relationship Id="rId5" Type="http://schemas.openxmlformats.org/officeDocument/2006/relationships/chart" Target="../charts/chart138.xml"/><Relationship Id="rId6" Type="http://schemas.openxmlformats.org/officeDocument/2006/relationships/chart" Target="../charts/chart139.xml"/><Relationship Id="rId7" Type="http://schemas.openxmlformats.org/officeDocument/2006/relationships/chart" Target="../charts/chart140.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1.xml"/><Relationship Id="rId3" Type="http://schemas.openxmlformats.org/officeDocument/2006/relationships/chart" Target="../charts/chart1179.xml"/><Relationship Id="rId4" Type="http://schemas.openxmlformats.org/officeDocument/2006/relationships/chart" Target="../charts/chart1180.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5.xml"/><Relationship Id="rId3" Type="http://schemas.openxmlformats.org/officeDocument/2006/relationships/chart" Target="../charts/chart1189.xml"/><Relationship Id="rId4" Type="http://schemas.openxmlformats.org/officeDocument/2006/relationships/chart" Target="../charts/chart1190.xml"/><Relationship Id="rId5" Type="http://schemas.openxmlformats.org/officeDocument/2006/relationships/chart" Target="../charts/chart1191.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7.xml"/><Relationship Id="rId3" Type="http://schemas.openxmlformats.org/officeDocument/2006/relationships/chart" Target="../charts/chart1195.xml"/><Relationship Id="rId4" Type="http://schemas.openxmlformats.org/officeDocument/2006/relationships/chart" Target="../charts/chart1196.xml"/><Relationship Id="rId5" Type="http://schemas.openxmlformats.org/officeDocument/2006/relationships/chart" Target="../charts/chart1197.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8.xml"/><Relationship Id="rId3" Type="http://schemas.openxmlformats.org/officeDocument/2006/relationships/chart" Target="../charts/chart1198.xml"/><Relationship Id="rId4" Type="http://schemas.openxmlformats.org/officeDocument/2006/relationships/chart" Target="../charts/chart1199.xml"/><Relationship Id="rId5" Type="http://schemas.openxmlformats.org/officeDocument/2006/relationships/chart" Target="../charts/chart1200.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2.xml"/><Relationship Id="rId3" Type="http://schemas.openxmlformats.org/officeDocument/2006/relationships/chart" Target="../charts/chart1208.xml"/><Relationship Id="rId4" Type="http://schemas.openxmlformats.org/officeDocument/2006/relationships/chart" Target="../charts/chart1209.xml"/><Relationship Id="rId5" Type="http://schemas.openxmlformats.org/officeDocument/2006/relationships/chart" Target="../charts/chart1210.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7.xml"/><Relationship Id="rId3" Type="http://schemas.openxmlformats.org/officeDocument/2006/relationships/chart" Target="../charts/chart1222.xml"/><Relationship Id="rId4" Type="http://schemas.openxmlformats.org/officeDocument/2006/relationships/chart" Target="../charts/chart1223.xml"/><Relationship Id="rId5" Type="http://schemas.openxmlformats.org/officeDocument/2006/relationships/chart" Target="../charts/chart12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11.xml"/><Relationship Id="rId4" Type="http://schemas.openxmlformats.org/officeDocument/2006/relationships/chart" Target="../charts/chart12.xml"/><Relationship Id="rId5" Type="http://schemas.openxmlformats.org/officeDocument/2006/relationships/chart" Target="../charts/chart13.xml"/><Relationship Id="rId6" Type="http://schemas.openxmlformats.org/officeDocument/2006/relationships/chart" Target="../charts/chart14.xml"/><Relationship Id="rId7" Type="http://schemas.openxmlformats.org/officeDocument/2006/relationships/chart" Target="../charts/chart15.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1.xml"/><Relationship Id="rId3" Type="http://schemas.openxmlformats.org/officeDocument/2006/relationships/chart" Target="../charts/chart1233.xml"/><Relationship Id="rId4" Type="http://schemas.openxmlformats.org/officeDocument/2006/relationships/chart" Target="../charts/chart1234.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2.xml"/><Relationship Id="rId3" Type="http://schemas.openxmlformats.org/officeDocument/2006/relationships/chart" Target="../charts/chart1235.xml"/><Relationship Id="rId4" Type="http://schemas.openxmlformats.org/officeDocument/2006/relationships/chart" Target="../charts/chart1236.xml"/><Relationship Id="rId5" Type="http://schemas.openxmlformats.org/officeDocument/2006/relationships/chart" Target="../charts/chart123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8.xml"/><Relationship Id="rId3" Type="http://schemas.openxmlformats.org/officeDocument/2006/relationships/chart" Target="../charts/chart1249.xml"/><Relationship Id="rId4" Type="http://schemas.openxmlformats.org/officeDocument/2006/relationships/chart" Target="../charts/chart1250.xml"/><Relationship Id="rId5" Type="http://schemas.openxmlformats.org/officeDocument/2006/relationships/chart" Target="../charts/chart1251.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2.xml"/><Relationship Id="rId3" Type="http://schemas.openxmlformats.org/officeDocument/2006/relationships/chart" Target="../charts/chart1258.xml"/><Relationship Id="rId4" Type="http://schemas.openxmlformats.org/officeDocument/2006/relationships/chart" Target="../charts/chart1259.xml"/><Relationship Id="rId5" Type="http://schemas.openxmlformats.org/officeDocument/2006/relationships/chart" Target="../charts/chart1260.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3.xml"/><Relationship Id="rId3" Type="http://schemas.openxmlformats.org/officeDocument/2006/relationships/chart" Target="../charts/chart1261.xml"/><Relationship Id="rId4" Type="http://schemas.openxmlformats.org/officeDocument/2006/relationships/chart" Target="../charts/chart1262.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9.xml"/><Relationship Id="rId3" Type="http://schemas.openxmlformats.org/officeDocument/2006/relationships/chart" Target="../charts/chart127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156.xml"/><Relationship Id="rId4" Type="http://schemas.openxmlformats.org/officeDocument/2006/relationships/chart" Target="../charts/chart157.xml"/><Relationship Id="rId5" Type="http://schemas.openxmlformats.org/officeDocument/2006/relationships/chart" Target="../charts/chart158.xml"/><Relationship Id="rId6" Type="http://schemas.openxmlformats.org/officeDocument/2006/relationships/chart" Target="../charts/chart159.xml"/><Relationship Id="rId7" Type="http://schemas.openxmlformats.org/officeDocument/2006/relationships/chart" Target="../charts/chart160.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0.xml"/><Relationship Id="rId3" Type="http://schemas.openxmlformats.org/officeDocument/2006/relationships/chart" Target="../charts/chart1277.xml"/><Relationship Id="rId4" Type="http://schemas.openxmlformats.org/officeDocument/2006/relationships/chart" Target="../charts/chart1278.xml"/><Relationship Id="rId5" Type="http://schemas.openxmlformats.org/officeDocument/2006/relationships/chart" Target="../charts/chart1279.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4.xml"/><Relationship Id="rId3" Type="http://schemas.openxmlformats.org/officeDocument/2006/relationships/chart" Target="../charts/chart1286.xml"/><Relationship Id="rId4" Type="http://schemas.openxmlformats.org/officeDocument/2006/relationships/chart" Target="../charts/chart1287.xml"/><Relationship Id="rId5" Type="http://schemas.openxmlformats.org/officeDocument/2006/relationships/chart" Target="../charts/chart1288.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6.xml"/><Relationship Id="rId3" Type="http://schemas.openxmlformats.org/officeDocument/2006/relationships/chart" Target="../charts/chart1291.xml"/><Relationship Id="rId4" Type="http://schemas.openxmlformats.org/officeDocument/2006/relationships/chart" Target="../charts/chart1292.xml"/><Relationship Id="rId5" Type="http://schemas.openxmlformats.org/officeDocument/2006/relationships/chart" Target="../charts/chart1293.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0.xml"/><Relationship Id="rId3" Type="http://schemas.openxmlformats.org/officeDocument/2006/relationships/chart" Target="../charts/chart1300.xml"/><Relationship Id="rId4" Type="http://schemas.openxmlformats.org/officeDocument/2006/relationships/chart" Target="../charts/chart1301.xml"/><Relationship Id="rId5" Type="http://schemas.openxmlformats.org/officeDocument/2006/relationships/chart" Target="../charts/chart1302.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1.xml"/><Relationship Id="rId3" Type="http://schemas.openxmlformats.org/officeDocument/2006/relationships/chart" Target="../charts/chart1303.xml"/><Relationship Id="rId4" Type="http://schemas.openxmlformats.org/officeDocument/2006/relationships/chart" Target="../charts/chart1304.xml"/></Relationships>
</file>

<file path=ppt/slides/_rels/slide3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5.xml"/><Relationship Id="rId3" Type="http://schemas.openxmlformats.org/officeDocument/2006/relationships/chart" Target="../charts/chart1313.xml"/><Relationship Id="rId4" Type="http://schemas.openxmlformats.org/officeDocument/2006/relationships/chart" Target="../charts/chart1314.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7.xml"/><Relationship Id="rId3" Type="http://schemas.openxmlformats.org/officeDocument/2006/relationships/chart" Target="../charts/chart1318.xml"/><Relationship Id="rId4" Type="http://schemas.openxmlformats.org/officeDocument/2006/relationships/chart" Target="../charts/chart1319.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1.xml"/><Relationship Id="rId3" Type="http://schemas.openxmlformats.org/officeDocument/2006/relationships/chart" Target="../charts/chart1327.xml"/><Relationship Id="rId4" Type="http://schemas.openxmlformats.org/officeDocument/2006/relationships/chart" Target="../charts/chart1328.xml"/><Relationship Id="rId5" Type="http://schemas.openxmlformats.org/officeDocument/2006/relationships/chart" Target="../charts/chart1329.xml"/></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2.xml"/><Relationship Id="rId3" Type="http://schemas.openxmlformats.org/officeDocument/2006/relationships/chart" Target="../charts/chart1330.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8.xml"/><Relationship Id="rId3" Type="http://schemas.openxmlformats.org/officeDocument/2006/relationships/chart" Target="../charts/chart1344.xml"/><Relationship Id="rId4" Type="http://schemas.openxmlformats.org/officeDocument/2006/relationships/chart" Target="../charts/chart1345.xml"/><Relationship Id="rId5" Type="http://schemas.openxmlformats.org/officeDocument/2006/relationships/chart" Target="../charts/chart1346.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2.xml"/><Relationship Id="rId3" Type="http://schemas.openxmlformats.org/officeDocument/2006/relationships/chart" Target="../charts/chart1354.xml"/><Relationship Id="rId4" Type="http://schemas.openxmlformats.org/officeDocument/2006/relationships/chart" Target="../charts/chart1355.xml"/><Relationship Id="rId5" Type="http://schemas.openxmlformats.org/officeDocument/2006/relationships/chart" Target="../charts/chart1356.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3.xml"/><Relationship Id="rId3" Type="http://schemas.openxmlformats.org/officeDocument/2006/relationships/chart" Target="../charts/chart1357.xml"/><Relationship Id="rId4" Type="http://schemas.openxmlformats.org/officeDocument/2006/relationships/chart" Target="../charts/chart1358.xml"/><Relationship Id="rId5" Type="http://schemas.openxmlformats.org/officeDocument/2006/relationships/chart" Target="../charts/chart1359.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9.xml"/><Relationship Id="rId3" Type="http://schemas.openxmlformats.org/officeDocument/2006/relationships/chart" Target="../charts/chart1373.xml"/><Relationship Id="rId4" Type="http://schemas.openxmlformats.org/officeDocument/2006/relationships/chart" Target="../charts/chart1374.xml"/><Relationship Id="rId5" Type="http://schemas.openxmlformats.org/officeDocument/2006/relationships/chart" Target="../charts/chart1375.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3.xml"/><Relationship Id="rId3" Type="http://schemas.openxmlformats.org/officeDocument/2006/relationships/chart" Target="../charts/chart1383.xml"/><Relationship Id="rId4" Type="http://schemas.openxmlformats.org/officeDocument/2006/relationships/chart" Target="../charts/chart1384.xml"/><Relationship Id="rId5" Type="http://schemas.openxmlformats.org/officeDocument/2006/relationships/chart" Target="../charts/chart1385.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4.xml"/><Relationship Id="rId3" Type="http://schemas.openxmlformats.org/officeDocument/2006/relationships/chart" Target="../charts/chart1386.xml"/><Relationship Id="rId4" Type="http://schemas.openxmlformats.org/officeDocument/2006/relationships/chart" Target="../charts/chart1387.xml"/><Relationship Id="rId5" Type="http://schemas.openxmlformats.org/officeDocument/2006/relationships/chart" Target="../charts/chart1388.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6.xml"/><Relationship Id="rId3" Type="http://schemas.openxmlformats.org/officeDocument/2006/relationships/chart" Target="../charts/chart1390.xml"/><Relationship Id="rId4" Type="http://schemas.openxmlformats.org/officeDocument/2006/relationships/chart" Target="../charts/chart1391.xml"/><Relationship Id="rId5" Type="http://schemas.openxmlformats.org/officeDocument/2006/relationships/chart" Target="../charts/chart1392.xml"/></Relationships>
</file>

<file path=ppt/slides/_rels/slide3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0.xml"/><Relationship Id="rId3" Type="http://schemas.openxmlformats.org/officeDocument/2006/relationships/chart" Target="../charts/chart1400.xml"/><Relationship Id="rId4" Type="http://schemas.openxmlformats.org/officeDocument/2006/relationships/chart" Target="../charts/chart1401.xml"/><Relationship Id="rId5" Type="http://schemas.openxmlformats.org/officeDocument/2006/relationships/chart" Target="../charts/chart1402.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4.xml"/><Relationship Id="rId3" Type="http://schemas.openxmlformats.org/officeDocument/2006/relationships/chart" Target="../charts/chart1410.xml"/><Relationship Id="rId4" Type="http://schemas.openxmlformats.org/officeDocument/2006/relationships/chart" Target="../charts/chart1411.xml"/><Relationship Id="rId5" Type="http://schemas.openxmlformats.org/officeDocument/2006/relationships/chart" Target="../charts/chart1412.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5.xml"/><Relationship Id="rId3" Type="http://schemas.openxmlformats.org/officeDocument/2006/relationships/chart" Target="../charts/chart1413.xml"/><Relationship Id="rId4" Type="http://schemas.openxmlformats.org/officeDocument/2006/relationships/chart" Target="../charts/chart1414.xml"/><Relationship Id="rId5" Type="http://schemas.openxmlformats.org/officeDocument/2006/relationships/chart" Target="../charts/chart1415.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7.xml"/><Relationship Id="rId3" Type="http://schemas.openxmlformats.org/officeDocument/2006/relationships/chart" Target="../charts/chart1417.xml"/><Relationship Id="rId4" Type="http://schemas.openxmlformats.org/officeDocument/2006/relationships/chart" Target="../charts/chart1418.xml"/><Relationship Id="rId5" Type="http://schemas.openxmlformats.org/officeDocument/2006/relationships/chart" Target="../charts/chart14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 Id="rId3" Type="http://schemas.openxmlformats.org/officeDocument/2006/relationships/chart" Target="../charts/chart186.xml"/><Relationship Id="rId4" Type="http://schemas.openxmlformats.org/officeDocument/2006/relationships/chart" Target="../charts/chart187.xml"/><Relationship Id="rId5" Type="http://schemas.openxmlformats.org/officeDocument/2006/relationships/chart" Target="../charts/chart188.xml"/><Relationship Id="rId6" Type="http://schemas.openxmlformats.org/officeDocument/2006/relationships/chart" Target="../charts/chart189.xml"/><Relationship Id="rId7" Type="http://schemas.openxmlformats.org/officeDocument/2006/relationships/chart" Target="../charts/chart190.xml"/></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1.xml"/><Relationship Id="rId3" Type="http://schemas.openxmlformats.org/officeDocument/2006/relationships/chart" Target="../charts/chart1429.xml"/><Relationship Id="rId4" Type="http://schemas.openxmlformats.org/officeDocument/2006/relationships/chart" Target="../charts/chart1430.xml"/><Relationship Id="rId5" Type="http://schemas.openxmlformats.org/officeDocument/2006/relationships/chart" Target="../charts/chart1431.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5.xml"/><Relationship Id="rId3" Type="http://schemas.openxmlformats.org/officeDocument/2006/relationships/chart" Target="../charts/chart1439.xml"/><Relationship Id="rId4" Type="http://schemas.openxmlformats.org/officeDocument/2006/relationships/chart" Target="../charts/chart1440.xml"/><Relationship Id="rId5" Type="http://schemas.openxmlformats.org/officeDocument/2006/relationships/chart" Target="../charts/chart1441.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8.xml"/><Relationship Id="rId3" Type="http://schemas.openxmlformats.org/officeDocument/2006/relationships/chart" Target="../charts/chart144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191.xml"/><Relationship Id="rId4" Type="http://schemas.openxmlformats.org/officeDocument/2006/relationships/chart" Target="../charts/chart192.xml"/><Relationship Id="rId5" Type="http://schemas.openxmlformats.org/officeDocument/2006/relationships/chart" Target="../charts/chart193.xml"/><Relationship Id="rId6" Type="http://schemas.openxmlformats.org/officeDocument/2006/relationships/chart" Target="../charts/chart194.xml"/><Relationship Id="rId7" Type="http://schemas.openxmlformats.org/officeDocument/2006/relationships/chart" Target="../charts/chart195.xml"/></Relationships>
</file>

<file path=ppt/slides/_rels/slide3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2.xml"/><Relationship Id="rId3" Type="http://schemas.openxmlformats.org/officeDocument/2006/relationships/chart" Target="../charts/chart1456.xml"/><Relationship Id="rId4" Type="http://schemas.openxmlformats.org/officeDocument/2006/relationships/chart" Target="../charts/chart1457.xml"/><Relationship Id="rId5" Type="http://schemas.openxmlformats.org/officeDocument/2006/relationships/chart" Target="../charts/chart1458.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7.xml"/><Relationship Id="rId3" Type="http://schemas.openxmlformats.org/officeDocument/2006/relationships/chart" Target="../charts/chart1467.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8.xml"/><Relationship Id="rId3" Type="http://schemas.openxmlformats.org/officeDocument/2006/relationships/chart" Target="../charts/chart1468.xml"/><Relationship Id="rId4" Type="http://schemas.openxmlformats.org/officeDocument/2006/relationships/chart" Target="../charts/chart1469.xml"/><Relationship Id="rId5" Type="http://schemas.openxmlformats.org/officeDocument/2006/relationships/chart" Target="../charts/chart1470.xml"/></Relationships>
</file>

<file path=ppt/slides/_rels/slide4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2.xml"/><Relationship Id="rId3" Type="http://schemas.openxmlformats.org/officeDocument/2006/relationships/chart" Target="../charts/chart1476.xml"/><Relationship Id="rId4" Type="http://schemas.openxmlformats.org/officeDocument/2006/relationships/chart" Target="../charts/chart1477.xml"/><Relationship Id="rId5" Type="http://schemas.openxmlformats.org/officeDocument/2006/relationships/chart" Target="../charts/chart1478.xml"/></Relationships>
</file>

<file path=ppt/slides/_rels/slide4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8.xml"/><Relationship Id="rId3" Type="http://schemas.openxmlformats.org/officeDocument/2006/relationships/chart" Target="../charts/chart1488.xml"/><Relationship Id="rId4" Type="http://schemas.openxmlformats.org/officeDocument/2006/relationships/chart" Target="../charts/chart1489.xml"/><Relationship Id="rId5" Type="http://schemas.openxmlformats.org/officeDocument/2006/relationships/chart" Target="../charts/chart1490.xml"/></Relationships>
</file>

<file path=ppt/slides/_rels/slide4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9.xml"/><Relationship Id="rId3" Type="http://schemas.openxmlformats.org/officeDocument/2006/relationships/chart" Target="../charts/chart1491.xml"/></Relationships>
</file>

<file path=ppt/slides/_rels/slide4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3.xml"/><Relationship Id="rId3" Type="http://schemas.openxmlformats.org/officeDocument/2006/relationships/chart" Target="../charts/chart1499.xml"/></Relationships>
</file>

<file path=ppt/slides/_rels/slide4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9.xml"/><Relationship Id="rId3" Type="http://schemas.openxmlformats.org/officeDocument/2006/relationships/chart" Target="../charts/chart1511.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0.xml"/><Relationship Id="rId3" Type="http://schemas.openxmlformats.org/officeDocument/2006/relationships/chart" Target="../charts/chart1512.xml"/><Relationship Id="rId4" Type="http://schemas.openxmlformats.org/officeDocument/2006/relationships/chart" Target="../charts/chart1513.xml"/><Relationship Id="rId5" Type="http://schemas.openxmlformats.org/officeDocument/2006/relationships/chart" Target="../charts/chart1514.xml"/></Relationships>
</file>

<file path=ppt/slides/_rels/slide4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4.xml"/><Relationship Id="rId3" Type="http://schemas.openxmlformats.org/officeDocument/2006/relationships/chart" Target="../charts/chart1520.xml"/><Relationship Id="rId4" Type="http://schemas.openxmlformats.org/officeDocument/2006/relationships/chart" Target="../charts/chart1521.xml"/><Relationship Id="rId5" Type="http://schemas.openxmlformats.org/officeDocument/2006/relationships/chart" Target="../charts/chart1522.xml"/></Relationships>
</file>

<file path=ppt/slides/_rels/slide4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6.xml"/><Relationship Id="rId3" Type="http://schemas.openxmlformats.org/officeDocument/2006/relationships/chart" Target="../charts/chart1524.xml"/><Relationship Id="rId4" Type="http://schemas.openxmlformats.org/officeDocument/2006/relationships/chart" Target="../charts/chart1525.xml"/><Relationship Id="rId5" Type="http://schemas.openxmlformats.org/officeDocument/2006/relationships/chart" Target="../charts/chart15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chart" Target="../charts/chart211.xml"/><Relationship Id="rId4" Type="http://schemas.openxmlformats.org/officeDocument/2006/relationships/chart" Target="../charts/chart212.xml"/><Relationship Id="rId5" Type="http://schemas.openxmlformats.org/officeDocument/2006/relationships/chart" Target="../charts/chart213.xml"/><Relationship Id="rId6" Type="http://schemas.openxmlformats.org/officeDocument/2006/relationships/chart" Target="../charts/chart214.xml"/><Relationship Id="rId7" Type="http://schemas.openxmlformats.org/officeDocument/2006/relationships/chart" Target="../charts/chart215.xml"/></Relationships>
</file>

<file path=ppt/slides/_rels/slide4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0.xml"/><Relationship Id="rId3" Type="http://schemas.openxmlformats.org/officeDocument/2006/relationships/chart" Target="../charts/chart1532.xml"/><Relationship Id="rId4" Type="http://schemas.openxmlformats.org/officeDocument/2006/relationships/chart" Target="../charts/chart1533.xml"/><Relationship Id="rId5" Type="http://schemas.openxmlformats.org/officeDocument/2006/relationships/chart" Target="../charts/chart1534.xml"/></Relationships>
</file>

<file path=ppt/slides/_rels/slide4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1.xml"/><Relationship Id="rId3" Type="http://schemas.openxmlformats.org/officeDocument/2006/relationships/chart" Target="../charts/chart1535.xml"/></Relationships>
</file>

<file path=ppt/slides/_rels/slide435.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2.xml"/><Relationship Id="rId7" Type="http://schemas.openxmlformats.org/officeDocument/2006/relationships/chart" Target="../charts/chart1543.xml"/></Relationships>
</file>

<file path=ppt/slides/_rels/slide437.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4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6.xml"/><Relationship Id="rId7" Type="http://schemas.openxmlformats.org/officeDocument/2006/relationships/chart" Target="../charts/chart1547.xml"/></Relationships>
</file>

<file path=ppt/slides/_rels/slide441.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4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4.xml"/><Relationship Id="rId7" Type="http://schemas.openxmlformats.org/officeDocument/2006/relationships/chart" Target="../charts/chart1555.xml"/></Relationships>
</file>

<file path=ppt/slides/_rels/slide442.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4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6.xml"/><Relationship Id="rId7" Type="http://schemas.openxmlformats.org/officeDocument/2006/relationships/chart" Target="../charts/chart1557.xml"/></Relationships>
</file>

<file path=ppt/slides/_rels/slide448.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4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8.xml"/><Relationship Id="rId7" Type="http://schemas.openxmlformats.org/officeDocument/2006/relationships/chart" Target="../charts/chart1569.xml"/></Relationships>
</file>

<file path=ppt/slides/_rels/slide452.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4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6.xml"/><Relationship Id="rId7" Type="http://schemas.openxmlformats.org/officeDocument/2006/relationships/chart" Target="../charts/chart1577.xml"/></Relationships>
</file>

<file path=ppt/slides/_rels/slide453.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4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8.xml"/><Relationship Id="rId7" Type="http://schemas.openxmlformats.org/officeDocument/2006/relationships/chart" Target="../charts/chart1579.xml"/></Relationships>
</file>

<file path=ppt/slides/_rels/slide459.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4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0.xml"/><Relationship Id="rId7" Type="http://schemas.openxmlformats.org/officeDocument/2006/relationships/chart" Target="../charts/chart1591.xml"/></Relationships>
</file>

<file path=ppt/slides/_rels/slide464.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4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0.xml"/><Relationship Id="rId7" Type="http://schemas.openxmlformats.org/officeDocument/2006/relationships/chart" Target="../charts/chart1601.xml"/></Relationships>
</file>

<file path=ppt/slides/_rels/slide466.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4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4.xml"/><Relationship Id="rId7" Type="http://schemas.openxmlformats.org/officeDocument/2006/relationships/chart" Target="../charts/chart1605.xml"/></Relationships>
</file>

<file path=ppt/slides/_rels/slide470.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4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2.xml"/><Relationship Id="rId7" Type="http://schemas.openxmlformats.org/officeDocument/2006/relationships/chart" Target="../charts/chart1613.xml"/></Relationships>
</file>

<file path=ppt/slides/_rels/slide471.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4.xml"/><Relationship Id="rId7" Type="http://schemas.openxmlformats.org/officeDocument/2006/relationships/chart" Target="../charts/chart1615.xml"/></Relationships>
</file>

<file path=ppt/slides/_rels/slide475.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2.xml"/><Relationship Id="rId7" Type="http://schemas.openxmlformats.org/officeDocument/2006/relationships/chart" Target="../charts/chart1623.xml"/></Relationships>
</file>

<file path=ppt/slides/_rels/slide47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6.xml"/><Relationship Id="rId7" Type="http://schemas.openxmlformats.org/officeDocument/2006/relationships/chart" Target="../charts/chart1627.xml"/></Relationships>
</file>

<file path=ppt/slides/_rels/slide481.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4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4.xml"/><Relationship Id="rId7" Type="http://schemas.openxmlformats.org/officeDocument/2006/relationships/chart" Target="../charts/chart1635.xml"/></Relationships>
</file>

<file path=ppt/slides/_rels/slide482.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4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6.xml"/><Relationship Id="rId7" Type="http://schemas.openxmlformats.org/officeDocument/2006/relationships/chart" Target="../charts/chart1637.xml"/></Relationships>
</file>

<file path=ppt/slides/_rels/slide488.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4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48.xml"/><Relationship Id="rId7" Type="http://schemas.openxmlformats.org/officeDocument/2006/relationships/chart" Target="../charts/chart164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 Id="rId3" Type="http://schemas.openxmlformats.org/officeDocument/2006/relationships/chart" Target="../charts/chart241.xml"/><Relationship Id="rId4" Type="http://schemas.openxmlformats.org/officeDocument/2006/relationships/chart" Target="../charts/chart242.xml"/><Relationship Id="rId5" Type="http://schemas.openxmlformats.org/officeDocument/2006/relationships/chart" Target="../charts/chart243.xml"/><Relationship Id="rId6" Type="http://schemas.openxmlformats.org/officeDocument/2006/relationships/chart" Target="../charts/chart244.xml"/><Relationship Id="rId7" Type="http://schemas.openxmlformats.org/officeDocument/2006/relationships/chart" Target="../charts/chart245.xml"/></Relationships>
</file>

<file path=ppt/slides/_rels/slide492.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4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6.xml"/><Relationship Id="rId7" Type="http://schemas.openxmlformats.org/officeDocument/2006/relationships/chart" Target="../charts/chart1657.xml"/></Relationships>
</file>

<file path=ppt/slides/_rels/slide493.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4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8.xml"/><Relationship Id="rId7" Type="http://schemas.openxmlformats.org/officeDocument/2006/relationships/chart" Target="../charts/chart1659.xml"/></Relationships>
</file>

<file path=ppt/slides/_rels/slide497.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4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6.xml"/><Relationship Id="rId7" Type="http://schemas.openxmlformats.org/officeDocument/2006/relationships/chart" Target="../charts/chart1667.xml"/></Relationships>
</file>

<file path=ppt/slides/_rels/slide498.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4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8.xml"/><Relationship Id="rId7" Type="http://schemas.openxmlformats.org/officeDocument/2006/relationships/chart" Target="../charts/chart166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xml"/><Relationship Id="rId3" Type="http://schemas.openxmlformats.org/officeDocument/2006/relationships/chart" Target="../charts/chart246.xml"/><Relationship Id="rId4" Type="http://schemas.openxmlformats.org/officeDocument/2006/relationships/chart" Target="../charts/chart247.xml"/><Relationship Id="rId5" Type="http://schemas.openxmlformats.org/officeDocument/2006/relationships/chart" Target="../charts/chart248.xml"/><Relationship Id="rId6" Type="http://schemas.openxmlformats.org/officeDocument/2006/relationships/chart" Target="../charts/chart249.xml"/><Relationship Id="rId7" Type="http://schemas.openxmlformats.org/officeDocument/2006/relationships/chart" Target="../charts/chart250.xml"/></Relationships>
</file>

<file path=ppt/slides/_rels/slide502.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5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6.xml"/><Relationship Id="rId7" Type="http://schemas.openxmlformats.org/officeDocument/2006/relationships/chart" Target="../charts/chart1677.xml"/></Relationships>
</file>

<file path=ppt/slides/_rels/slide508.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5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88.xml"/><Relationship Id="rId7" Type="http://schemas.openxmlformats.org/officeDocument/2006/relationships/chart" Target="../charts/chart1689.xml"/></Relationships>
</file>

<file path=ppt/slides/_rels/slide509.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5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0.xml"/><Relationship Id="rId7" Type="http://schemas.openxmlformats.org/officeDocument/2006/relationships/chart" Target="../charts/chart1691.xml"/></Relationships>
</file>

<file path=ppt/slides/_rels/slide513.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5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8.xml"/><Relationship Id="rId7" Type="http://schemas.openxmlformats.org/officeDocument/2006/relationships/chart" Target="../charts/chart1699.xml"/></Relationships>
</file>

<file path=ppt/slides/_rels/slide519.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5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0.xml"/><Relationship Id="rId7" Type="http://schemas.openxmlformats.org/officeDocument/2006/relationships/chart" Target="../charts/chart1711.xml"/></Relationships>
</file>

<file path=ppt/slides/_rels/slide520.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5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2.xml"/><Relationship Id="rId7" Type="http://schemas.openxmlformats.org/officeDocument/2006/relationships/chart" Target="../charts/chart1713.xml"/></Relationships>
</file>

<file path=ppt/slides/_rels/slide524.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5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0.xml"/><Relationship Id="rId7" Type="http://schemas.openxmlformats.org/officeDocument/2006/relationships/chart" Target="../charts/chart1721.xml"/></Relationships>
</file>

<file path=ppt/slides/_rels/slide526.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5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4.xml"/><Relationship Id="rId7" Type="http://schemas.openxmlformats.org/officeDocument/2006/relationships/chart" Target="../charts/chart1725.xml"/></Relationships>
</file>

<file path=ppt/slides/_rels/slide527.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5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6.xml"/><Relationship Id="rId7" Type="http://schemas.openxmlformats.org/officeDocument/2006/relationships/chart" Target="../charts/chart1727.xml"/></Relationships>
</file>

<file path=ppt/slides/_rels/slide531.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5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4.xml"/><Relationship Id="rId7" Type="http://schemas.openxmlformats.org/officeDocument/2006/relationships/chart" Target="../charts/chart1735.xml"/></Relationships>
</file>

<file path=ppt/slides/_rels/slide535.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5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2.xml"/><Relationship Id="rId7" Type="http://schemas.openxmlformats.org/officeDocument/2006/relationships/chart" Target="../charts/chart1743.xml"/></Relationships>
</file>

<file path=ppt/slides/_rels/slide537.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5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6.xml"/><Relationship Id="rId7" Type="http://schemas.openxmlformats.org/officeDocument/2006/relationships/chart" Target="../charts/chart1747.xml"/></Relationships>
</file>

<file path=ppt/slides/_rels/slide538.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5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8.xml"/><Relationship Id="rId7" Type="http://schemas.openxmlformats.org/officeDocument/2006/relationships/chart" Target="../charts/chart174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xml"/><Relationship Id="rId3" Type="http://schemas.openxmlformats.org/officeDocument/2006/relationships/chart" Target="../charts/chart266.xml"/><Relationship Id="rId4" Type="http://schemas.openxmlformats.org/officeDocument/2006/relationships/chart" Target="../charts/chart267.xml"/><Relationship Id="rId5" Type="http://schemas.openxmlformats.org/officeDocument/2006/relationships/chart" Target="../charts/chart268.xml"/><Relationship Id="rId6" Type="http://schemas.openxmlformats.org/officeDocument/2006/relationships/chart" Target="../charts/chart269.xml"/><Relationship Id="rId7" Type="http://schemas.openxmlformats.org/officeDocument/2006/relationships/chart" Target="../charts/chart270.xml"/></Relationships>
</file>

<file path=ppt/slides/_rels/slide542.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5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6.xml"/><Relationship Id="rId7" Type="http://schemas.openxmlformats.org/officeDocument/2006/relationships/chart" Target="../charts/chart1757.xml"/></Relationships>
</file>

<file path=ppt/slides/_rels/slide548.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5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8.xml"/><Relationship Id="rId7" Type="http://schemas.openxmlformats.org/officeDocument/2006/relationships/chart" Target="../charts/chart1769.xml"/></Relationships>
</file>

<file path=ppt/slides/_rels/slide549.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5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0.xml"/><Relationship Id="rId7" Type="http://schemas.openxmlformats.org/officeDocument/2006/relationships/chart" Target="../charts/chart1771.xml"/></Relationships>
</file>

<file path=ppt/slides/_rels/slide553.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5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8.xml"/><Relationship Id="rId7" Type="http://schemas.openxmlformats.org/officeDocument/2006/relationships/chart" Target="../charts/chart1779.xml"/></Relationships>
</file>

<file path=ppt/slides/_rels/slide559.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5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0.xml"/><Relationship Id="rId7" Type="http://schemas.openxmlformats.org/officeDocument/2006/relationships/chart" Target="../charts/chart179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xml"/><Relationship Id="rId3" Type="http://schemas.openxmlformats.org/officeDocument/2006/relationships/chart" Target="../charts/chart276.xml"/><Relationship Id="rId4" Type="http://schemas.openxmlformats.org/officeDocument/2006/relationships/chart" Target="../charts/chart277.xml"/><Relationship Id="rId5" Type="http://schemas.openxmlformats.org/officeDocument/2006/relationships/chart" Target="../charts/chart278.xml"/><Relationship Id="rId6" Type="http://schemas.openxmlformats.org/officeDocument/2006/relationships/chart" Target="../charts/chart279.xml"/><Relationship Id="rId7" Type="http://schemas.openxmlformats.org/officeDocument/2006/relationships/chart" Target="../charts/chart280.xml"/></Relationships>
</file>

<file path=ppt/slides/_rels/slide560.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5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2.xml"/><Relationship Id="rId7" Type="http://schemas.openxmlformats.org/officeDocument/2006/relationships/chart" Target="../charts/chart1793.xml"/></Relationships>
</file>

<file path=ppt/slides/_rels/slide564.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5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0.xml"/><Relationship Id="rId7" Type="http://schemas.openxmlformats.org/officeDocument/2006/relationships/chart" Target="../charts/chart1801.xml"/></Relationships>
</file>

<file path=ppt/slides/_rels/slide566.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5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4.xml"/><Relationship Id="rId7" Type="http://schemas.openxmlformats.org/officeDocument/2006/relationships/chart" Target="../charts/chart1805.xml"/></Relationships>
</file>

<file path=ppt/slides/_rels/slide570.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5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2.xml"/><Relationship Id="rId7" Type="http://schemas.openxmlformats.org/officeDocument/2006/relationships/chart" Target="../charts/chart1813.xml"/></Relationships>
</file>

<file path=ppt/slides/_rels/slide571.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5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4.xml"/><Relationship Id="rId7" Type="http://schemas.openxmlformats.org/officeDocument/2006/relationships/chart" Target="../charts/chart1815.xml"/></Relationships>
</file>

<file path=ppt/slides/_rels/slide575.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5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2.xml"/><Relationship Id="rId7" Type="http://schemas.openxmlformats.org/officeDocument/2006/relationships/chart" Target="../charts/chart1823.xml"/></Relationships>
</file>

<file path=ppt/slides/_rels/slide577.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5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6.xml"/><Relationship Id="rId7" Type="http://schemas.openxmlformats.org/officeDocument/2006/relationships/chart" Target="../charts/chart1827.xml"/></Relationships>
</file>

<file path=ppt/slides/_rels/slide581.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5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4.xml"/><Relationship Id="rId7" Type="http://schemas.openxmlformats.org/officeDocument/2006/relationships/chart" Target="../charts/chart1835.xml"/></Relationships>
</file>

<file path=ppt/slides/_rels/slide582.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5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6.xml"/><Relationship Id="rId7" Type="http://schemas.openxmlformats.org/officeDocument/2006/relationships/chart" Target="../charts/chart1837.xml"/></Relationships>
</file>

<file path=ppt/slides/_rels/slide588.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5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8.xml"/><Relationship Id="rId7" Type="http://schemas.openxmlformats.org/officeDocument/2006/relationships/chart" Target="../charts/chart1849.xml"/></Relationships>
</file>

<file path=ppt/slides/_rels/slide592.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5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6.xml"/><Relationship Id="rId7" Type="http://schemas.openxmlformats.org/officeDocument/2006/relationships/chart" Target="../charts/chart1857.xml"/></Relationships>
</file>

<file path=ppt/slides/_rels/slide593.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5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8.xml"/><Relationship Id="rId7" Type="http://schemas.openxmlformats.org/officeDocument/2006/relationships/chart" Target="../charts/chart1859.xml"/></Relationships>
</file>

<file path=ppt/slides/_rels/slide598.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5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68.xml"/><Relationship Id="rId7" Type="http://schemas.openxmlformats.org/officeDocument/2006/relationships/chart" Target="../charts/chart186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xml"/><Relationship Id="rId3" Type="http://schemas.openxmlformats.org/officeDocument/2006/relationships/chart" Target="../charts/chart296.xml"/><Relationship Id="rId4" Type="http://schemas.openxmlformats.org/officeDocument/2006/relationships/chart" Target="../charts/chart297.xml"/><Relationship Id="rId5" Type="http://schemas.openxmlformats.org/officeDocument/2006/relationships/chart" Target="../charts/chart298.xml"/><Relationship Id="rId6" Type="http://schemas.openxmlformats.org/officeDocument/2006/relationships/chart" Target="../charts/chart299.xml"/><Relationship Id="rId7" Type="http://schemas.openxmlformats.org/officeDocument/2006/relationships/chart" Target="../charts/chart300.xml"/></Relationships>
</file>

<file path=ppt/slides/_rels/slide602.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6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6.xml"/><Relationship Id="rId7" Type="http://schemas.openxmlformats.org/officeDocument/2006/relationships/chart" Target="../charts/chart1877.xml"/></Relationships>
</file>

<file path=ppt/slides/_rels/slide609.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6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0.xml"/><Relationship Id="rId7" Type="http://schemas.openxmlformats.org/officeDocument/2006/relationships/chart" Target="../charts/chart189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xml"/><Relationship Id="rId3" Type="http://schemas.openxmlformats.org/officeDocument/2006/relationships/chart" Target="../charts/chart301.xml"/><Relationship Id="rId4" Type="http://schemas.openxmlformats.org/officeDocument/2006/relationships/chart" Target="../charts/chart302.xml"/><Relationship Id="rId5" Type="http://schemas.openxmlformats.org/officeDocument/2006/relationships/chart" Target="../charts/chart303.xml"/><Relationship Id="rId6" Type="http://schemas.openxmlformats.org/officeDocument/2006/relationships/chart" Target="../charts/chart304.xml"/><Relationship Id="rId7" Type="http://schemas.openxmlformats.org/officeDocument/2006/relationships/chart" Target="../charts/chart305.xml"/></Relationships>
</file>

<file path=ppt/slides/_rels/slide613.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6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8.xml"/><Relationship Id="rId7" Type="http://schemas.openxmlformats.org/officeDocument/2006/relationships/chart" Target="../charts/chart1899.xml"/></Relationships>
</file>

<file path=ppt/slides/_rels/slide616.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6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4.xml"/><Relationship Id="rId7" Type="http://schemas.openxmlformats.org/officeDocument/2006/relationships/chart" Target="../charts/chart1905.xml"/></Relationships>
</file>

<file path=ppt/slides/_rels/slide620.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6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2.xml"/><Relationship Id="rId7" Type="http://schemas.openxmlformats.org/officeDocument/2006/relationships/chart" Target="../charts/chart1913.xml"/></Relationships>
</file>

<file path=ppt/slides/_rels/slide624.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6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0.xml"/><Relationship Id="rId7" Type="http://schemas.openxmlformats.org/officeDocument/2006/relationships/chart" Target="../charts/chart1921.xml"/></Relationships>
</file>

<file path=ppt/slides/_rels/slide625.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6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2.xml"/><Relationship Id="rId7" Type="http://schemas.openxmlformats.org/officeDocument/2006/relationships/chart" Target="../charts/chart1923.xml"/></Relationships>
</file>

<file path=ppt/slides/_rels/slide626.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6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4.xml"/><Relationship Id="rId7" Type="http://schemas.openxmlformats.org/officeDocument/2006/relationships/chart" Target="../charts/chart1925.xml"/></Relationships>
</file>

<file path=ppt/slides/_rels/slide627.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6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6.xml"/><Relationship Id="rId7" Type="http://schemas.openxmlformats.org/officeDocument/2006/relationships/chart" Target="../charts/chart1927.xml"/></Relationships>
</file>

<file path=ppt/slides/_rels/slide631.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6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4.xml"/><Relationship Id="rId7" Type="http://schemas.openxmlformats.org/officeDocument/2006/relationships/chart" Target="../charts/chart1935.xml"/></Relationships>
</file>

<file path=ppt/slides/_rels/slide635.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6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4.xml"/><Relationship Id="rId7" Type="http://schemas.openxmlformats.org/officeDocument/2006/relationships/chart" Target="../charts/chart1955.xml"/><Relationship Id="rId8" Type="http://schemas.openxmlformats.org/officeDocument/2006/relationships/chart" Target="../charts/chart1956.xml"/><Relationship Id="rId9" Type="http://schemas.openxmlformats.org/officeDocument/2006/relationships/chart" Target="../charts/chart1957.xml"/><Relationship Id="rId10" Type="http://schemas.openxmlformats.org/officeDocument/2006/relationships/chart" Target="../charts/chart1958.xml"/><Relationship Id="rId11" Type="http://schemas.openxmlformats.org/officeDocument/2006/relationships/chart" Target="../charts/chart1959.xml"/></Relationships>
</file>

<file path=ppt/slides/_rels/slide637.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6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6.xml"/><Relationship Id="rId7" Type="http://schemas.openxmlformats.org/officeDocument/2006/relationships/chart" Target="../charts/chart1967.xml"/><Relationship Id="rId8" Type="http://schemas.openxmlformats.org/officeDocument/2006/relationships/chart" Target="../charts/chart1968.xml"/><Relationship Id="rId9" Type="http://schemas.openxmlformats.org/officeDocument/2006/relationships/chart" Target="../charts/chart1969.xml"/><Relationship Id="rId10" Type="http://schemas.openxmlformats.org/officeDocument/2006/relationships/chart" Target="../charts/chart1970.xml"/><Relationship Id="rId11" Type="http://schemas.openxmlformats.org/officeDocument/2006/relationships/chart" Target="../charts/chart1971.xml"/></Relationships>
</file>

<file path=ppt/slides/_rels/slide638.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6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2.xml"/><Relationship Id="rId7" Type="http://schemas.openxmlformats.org/officeDocument/2006/relationships/chart" Target="../charts/chart1973.xml"/><Relationship Id="rId8" Type="http://schemas.openxmlformats.org/officeDocument/2006/relationships/chart" Target="../charts/chart1974.xml"/><Relationship Id="rId9" Type="http://schemas.openxmlformats.org/officeDocument/2006/relationships/chart" Target="../charts/chart1975.xml"/><Relationship Id="rId10" Type="http://schemas.openxmlformats.org/officeDocument/2006/relationships/chart" Target="../charts/chart1976.xml"/><Relationship Id="rId11" Type="http://schemas.openxmlformats.org/officeDocument/2006/relationships/chart" Target="../charts/chart1977.xml"/></Relationships>
</file>

<file path=ppt/slides/_rels/slide642.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6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6.xml"/><Relationship Id="rId7" Type="http://schemas.openxmlformats.org/officeDocument/2006/relationships/chart" Target="../charts/chart1997.xml"/><Relationship Id="rId8" Type="http://schemas.openxmlformats.org/officeDocument/2006/relationships/chart" Target="../charts/chart1998.xml"/><Relationship Id="rId9" Type="http://schemas.openxmlformats.org/officeDocument/2006/relationships/chart" Target="../charts/chart1999.xml"/><Relationship Id="rId10" Type="http://schemas.openxmlformats.org/officeDocument/2006/relationships/chart" Target="../charts/chart2000.xml"/><Relationship Id="rId11" Type="http://schemas.openxmlformats.org/officeDocument/2006/relationships/chart" Target="../charts/chart2001.xml"/></Relationships>
</file>

<file path=ppt/slides/_rels/slide648.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notesSlide" Target="../notesSlides/notesSlide6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2.xml"/><Relationship Id="rId7" Type="http://schemas.openxmlformats.org/officeDocument/2006/relationships/chart" Target="../charts/chart2033.xml"/><Relationship Id="rId8" Type="http://schemas.openxmlformats.org/officeDocument/2006/relationships/chart" Target="../charts/chart2034.xml"/><Relationship Id="rId9" Type="http://schemas.openxmlformats.org/officeDocument/2006/relationships/chart" Target="../charts/chart2035.xml"/><Relationship Id="rId10" Type="http://schemas.openxmlformats.org/officeDocument/2006/relationships/chart" Target="../charts/chart2036.xml"/><Relationship Id="rId11" Type="http://schemas.openxmlformats.org/officeDocument/2006/relationships/chart" Target="../charts/chart2037.xml"/></Relationships>
</file>

<file path=ppt/slides/_rels/slide649.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6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8.xml"/><Relationship Id="rId7" Type="http://schemas.openxmlformats.org/officeDocument/2006/relationships/chart" Target="../charts/chart2039.xml"/><Relationship Id="rId8" Type="http://schemas.openxmlformats.org/officeDocument/2006/relationships/chart" Target="../charts/chart2040.xml"/><Relationship Id="rId9" Type="http://schemas.openxmlformats.org/officeDocument/2006/relationships/chart" Target="../charts/chart2041.xml"/><Relationship Id="rId10" Type="http://schemas.openxmlformats.org/officeDocument/2006/relationships/chart" Target="../charts/chart2042.xml"/><Relationship Id="rId11" Type="http://schemas.openxmlformats.org/officeDocument/2006/relationships/chart" Target="../charts/chart204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xml"/><Relationship Id="rId3" Type="http://schemas.openxmlformats.org/officeDocument/2006/relationships/chart" Target="../charts/chart321.xml"/><Relationship Id="rId4" Type="http://schemas.openxmlformats.org/officeDocument/2006/relationships/chart" Target="../charts/chart322.xml"/><Relationship Id="rId5" Type="http://schemas.openxmlformats.org/officeDocument/2006/relationships/chart" Target="../charts/chart323.xml"/><Relationship Id="rId6" Type="http://schemas.openxmlformats.org/officeDocument/2006/relationships/chart" Target="../charts/chart324.xml"/><Relationship Id="rId7" Type="http://schemas.openxmlformats.org/officeDocument/2006/relationships/chart" Target="../charts/chart325.xml"/></Relationships>
</file>

<file path=ppt/slides/_rels/slide653.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notesSlide" Target="../notesSlides/notesSlide6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2.xml"/><Relationship Id="rId7" Type="http://schemas.openxmlformats.org/officeDocument/2006/relationships/chart" Target="../charts/chart2063.xml"/><Relationship Id="rId8" Type="http://schemas.openxmlformats.org/officeDocument/2006/relationships/chart" Target="../charts/chart2064.xml"/><Relationship Id="rId9" Type="http://schemas.openxmlformats.org/officeDocument/2006/relationships/chart" Target="../charts/chart2065.xml"/><Relationship Id="rId10" Type="http://schemas.openxmlformats.org/officeDocument/2006/relationships/chart" Target="../charts/chart2066.xml"/><Relationship Id="rId11" Type="http://schemas.openxmlformats.org/officeDocument/2006/relationships/chart" Target="../charts/chart2067.xml"/></Relationships>
</file>

<file path=ppt/slides/_rels/slide659.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notesSlide" Target="../notesSlides/notesSlide6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8.xml"/><Relationship Id="rId7" Type="http://schemas.openxmlformats.org/officeDocument/2006/relationships/chart" Target="../charts/chart2099.xml"/><Relationship Id="rId8" Type="http://schemas.openxmlformats.org/officeDocument/2006/relationships/chart" Target="../charts/chart2100.xml"/><Relationship Id="rId9" Type="http://schemas.openxmlformats.org/officeDocument/2006/relationships/chart" Target="../charts/chart2101.xml"/><Relationship Id="rId10" Type="http://schemas.openxmlformats.org/officeDocument/2006/relationships/chart" Target="../charts/chart2102.xml"/><Relationship Id="rId11" Type="http://schemas.openxmlformats.org/officeDocument/2006/relationships/chart" Target="../charts/chart2103.xml"/></Relationships>
</file>

<file path=ppt/slides/_rels/slide660.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notesSlide" Target="../notesSlides/notesSlide6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4.xml"/><Relationship Id="rId7" Type="http://schemas.openxmlformats.org/officeDocument/2006/relationships/chart" Target="../charts/chart2105.xml"/><Relationship Id="rId8" Type="http://schemas.openxmlformats.org/officeDocument/2006/relationships/chart" Target="../charts/chart2106.xml"/><Relationship Id="rId9" Type="http://schemas.openxmlformats.org/officeDocument/2006/relationships/chart" Target="../charts/chart2107.xml"/><Relationship Id="rId10" Type="http://schemas.openxmlformats.org/officeDocument/2006/relationships/chart" Target="../charts/chart2108.xml"/><Relationship Id="rId11" Type="http://schemas.openxmlformats.org/officeDocument/2006/relationships/chart" Target="../charts/chart2109.xml"/></Relationships>
</file>

<file path=ppt/slides/_rels/slide664.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notesSlide" Target="../notesSlides/notesSlide6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28.xml"/><Relationship Id="rId7" Type="http://schemas.openxmlformats.org/officeDocument/2006/relationships/chart" Target="../charts/chart2129.xml"/><Relationship Id="rId8" Type="http://schemas.openxmlformats.org/officeDocument/2006/relationships/chart" Target="../charts/chart2130.xml"/><Relationship Id="rId9" Type="http://schemas.openxmlformats.org/officeDocument/2006/relationships/chart" Target="../charts/chart2131.xml"/><Relationship Id="rId10" Type="http://schemas.openxmlformats.org/officeDocument/2006/relationships/chart" Target="../charts/chart2132.xml"/><Relationship Id="rId11" Type="http://schemas.openxmlformats.org/officeDocument/2006/relationships/chart" Target="../charts/chart2133.xml"/></Relationships>
</file>

<file path=ppt/slides/_rels/slide666.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6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40.xml"/><Relationship Id="rId7" Type="http://schemas.openxmlformats.org/officeDocument/2006/relationships/chart" Target="../charts/chart2141.xml"/><Relationship Id="rId8" Type="http://schemas.openxmlformats.org/officeDocument/2006/relationships/chart" Target="../charts/chart2142.xml"/><Relationship Id="rId9" Type="http://schemas.openxmlformats.org/officeDocument/2006/relationships/chart" Target="../charts/chart2143.xml"/><Relationship Id="rId10" Type="http://schemas.openxmlformats.org/officeDocument/2006/relationships/chart" Target="../charts/chart2144.xml"/><Relationship Id="rId11" Type="http://schemas.openxmlformats.org/officeDocument/2006/relationships/chart" Target="../charts/chart2145.xml"/></Relationships>
</file>

<file path=ppt/slides/_rels/slide667.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notesSlide" Target="../notesSlides/notesSlide6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46.xml"/><Relationship Id="rId7" Type="http://schemas.openxmlformats.org/officeDocument/2006/relationships/chart" Target="../charts/chart2147.xml"/><Relationship Id="rId8" Type="http://schemas.openxmlformats.org/officeDocument/2006/relationships/chart" Target="../charts/chart2148.xml"/><Relationship Id="rId9" Type="http://schemas.openxmlformats.org/officeDocument/2006/relationships/chart" Target="../charts/chart2149.xml"/><Relationship Id="rId10" Type="http://schemas.openxmlformats.org/officeDocument/2006/relationships/chart" Target="../charts/chart2150.xml"/><Relationship Id="rId11" Type="http://schemas.openxmlformats.org/officeDocument/2006/relationships/chart" Target="../charts/chart215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xml"/><Relationship Id="rId3" Type="http://schemas.openxmlformats.org/officeDocument/2006/relationships/chart" Target="../charts/chart331.xml"/><Relationship Id="rId4" Type="http://schemas.openxmlformats.org/officeDocument/2006/relationships/chart" Target="../charts/chart332.xml"/><Relationship Id="rId5" Type="http://schemas.openxmlformats.org/officeDocument/2006/relationships/chart" Target="../charts/chart333.xml"/><Relationship Id="rId6" Type="http://schemas.openxmlformats.org/officeDocument/2006/relationships/chart" Target="../charts/chart334.xml"/><Relationship Id="rId7" Type="http://schemas.openxmlformats.org/officeDocument/2006/relationships/chart" Target="../charts/chart335.xml"/></Relationships>
</file>

<file path=ppt/slides/_rels/slide671.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6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0.xml"/><Relationship Id="rId7" Type="http://schemas.openxmlformats.org/officeDocument/2006/relationships/chart" Target="../charts/chart2171.xml"/><Relationship Id="rId8" Type="http://schemas.openxmlformats.org/officeDocument/2006/relationships/chart" Target="../charts/chart2172.xml"/><Relationship Id="rId9" Type="http://schemas.openxmlformats.org/officeDocument/2006/relationships/chart" Target="../charts/chart2173.xml"/><Relationship Id="rId10" Type="http://schemas.openxmlformats.org/officeDocument/2006/relationships/chart" Target="../charts/chart2174.xml"/><Relationship Id="rId11" Type="http://schemas.openxmlformats.org/officeDocument/2006/relationships/chart" Target="../charts/chart2175.xml"/></Relationships>
</file>

<file path=ppt/slides/_rels/slide675.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notesSlide" Target="../notesSlides/notesSlide6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4.xml"/><Relationship Id="rId7" Type="http://schemas.openxmlformats.org/officeDocument/2006/relationships/chart" Target="../charts/chart2195.xml"/><Relationship Id="rId8" Type="http://schemas.openxmlformats.org/officeDocument/2006/relationships/chart" Target="../charts/chart2196.xml"/><Relationship Id="rId9" Type="http://schemas.openxmlformats.org/officeDocument/2006/relationships/chart" Target="../charts/chart2197.xml"/><Relationship Id="rId10" Type="http://schemas.openxmlformats.org/officeDocument/2006/relationships/chart" Target="../charts/chart2198.xml"/><Relationship Id="rId11" Type="http://schemas.openxmlformats.org/officeDocument/2006/relationships/chart" Target="../charts/chart2199.xml"/></Relationships>
</file>

<file path=ppt/slides/_rels/slide677.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notesSlide" Target="../notesSlides/notesSlide6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6.xml"/><Relationship Id="rId7" Type="http://schemas.openxmlformats.org/officeDocument/2006/relationships/chart" Target="../charts/chart2207.xml"/><Relationship Id="rId8" Type="http://schemas.openxmlformats.org/officeDocument/2006/relationships/chart" Target="../charts/chart2208.xml"/><Relationship Id="rId9" Type="http://schemas.openxmlformats.org/officeDocument/2006/relationships/chart" Target="../charts/chart2209.xml"/><Relationship Id="rId10" Type="http://schemas.openxmlformats.org/officeDocument/2006/relationships/chart" Target="../charts/chart2210.xml"/><Relationship Id="rId11" Type="http://schemas.openxmlformats.org/officeDocument/2006/relationships/chart" Target="../charts/chart2211.xml"/></Relationships>
</file>

<file path=ppt/slides/_rels/slide678.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6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2.xml"/><Relationship Id="rId7" Type="http://schemas.openxmlformats.org/officeDocument/2006/relationships/chart" Target="../charts/chart2213.xml"/><Relationship Id="rId8" Type="http://schemas.openxmlformats.org/officeDocument/2006/relationships/chart" Target="../charts/chart2214.xml"/><Relationship Id="rId9" Type="http://schemas.openxmlformats.org/officeDocument/2006/relationships/chart" Target="../charts/chart2215.xml"/><Relationship Id="rId10" Type="http://schemas.openxmlformats.org/officeDocument/2006/relationships/chart" Target="../charts/chart2216.xml"/><Relationship Id="rId11" Type="http://schemas.openxmlformats.org/officeDocument/2006/relationships/chart" Target="../charts/chart2217.xml"/></Relationships>
</file>

<file path=ppt/slides/_rels/slide682.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notesSlide" Target="../notesSlides/notesSlide6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36.xml"/><Relationship Id="rId7" Type="http://schemas.openxmlformats.org/officeDocument/2006/relationships/chart" Target="../charts/chart2237.xml"/><Relationship Id="rId8" Type="http://schemas.openxmlformats.org/officeDocument/2006/relationships/chart" Target="../charts/chart2238.xml"/><Relationship Id="rId9" Type="http://schemas.openxmlformats.org/officeDocument/2006/relationships/chart" Target="../charts/chart2239.xml"/><Relationship Id="rId10" Type="http://schemas.openxmlformats.org/officeDocument/2006/relationships/chart" Target="../charts/chart2240.xml"/><Relationship Id="rId11" Type="http://schemas.openxmlformats.org/officeDocument/2006/relationships/chart" Target="../charts/chart2241.xml"/></Relationships>
</file>

<file path=ppt/slides/_rels/slide688.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notesSlide" Target="../notesSlides/notesSlide6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2.xml"/><Relationship Id="rId7" Type="http://schemas.openxmlformats.org/officeDocument/2006/relationships/chart" Target="../charts/chart2273.xml"/><Relationship Id="rId8" Type="http://schemas.openxmlformats.org/officeDocument/2006/relationships/chart" Target="../charts/chart2274.xml"/><Relationship Id="rId9" Type="http://schemas.openxmlformats.org/officeDocument/2006/relationships/chart" Target="../charts/chart2275.xml"/><Relationship Id="rId10" Type="http://schemas.openxmlformats.org/officeDocument/2006/relationships/chart" Target="../charts/chart2276.xml"/><Relationship Id="rId11" Type="http://schemas.openxmlformats.org/officeDocument/2006/relationships/chart" Target="../charts/chart2277.xml"/></Relationships>
</file>

<file path=ppt/slides/_rels/slide689.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notesSlide" Target="../notesSlides/notesSlide6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8.xml"/><Relationship Id="rId7" Type="http://schemas.openxmlformats.org/officeDocument/2006/relationships/chart" Target="../charts/chart2279.xml"/><Relationship Id="rId8" Type="http://schemas.openxmlformats.org/officeDocument/2006/relationships/chart" Target="../charts/chart2280.xml"/><Relationship Id="rId9" Type="http://schemas.openxmlformats.org/officeDocument/2006/relationships/chart" Target="../charts/chart2281.xml"/><Relationship Id="rId10" Type="http://schemas.openxmlformats.org/officeDocument/2006/relationships/chart" Target="../charts/chart2282.xml"/><Relationship Id="rId11" Type="http://schemas.openxmlformats.org/officeDocument/2006/relationships/chart" Target="../charts/chart2283.xml"/></Relationships>
</file>

<file path=ppt/slides/_rels/slide693.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notesSlide" Target="../notesSlides/notesSlide6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02.xml"/><Relationship Id="rId7" Type="http://schemas.openxmlformats.org/officeDocument/2006/relationships/chart" Target="../charts/chart2303.xml"/><Relationship Id="rId8" Type="http://schemas.openxmlformats.org/officeDocument/2006/relationships/chart" Target="../charts/chart2304.xml"/><Relationship Id="rId9" Type="http://schemas.openxmlformats.org/officeDocument/2006/relationships/chart" Target="../charts/chart2305.xml"/><Relationship Id="rId10" Type="http://schemas.openxmlformats.org/officeDocument/2006/relationships/chart" Target="../charts/chart2306.xml"/><Relationship Id="rId11" Type="http://schemas.openxmlformats.org/officeDocument/2006/relationships/chart" Target="../charts/chart2307.xml"/></Relationships>
</file>

<file path=ppt/slides/_rels/slide698.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notesSlide" Target="../notesSlides/notesSlide6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2.xml"/><Relationship Id="rId7" Type="http://schemas.openxmlformats.org/officeDocument/2006/relationships/chart" Target="../charts/chart2333.xml"/><Relationship Id="rId8" Type="http://schemas.openxmlformats.org/officeDocument/2006/relationships/chart" Target="../charts/chart2334.xml"/><Relationship Id="rId9" Type="http://schemas.openxmlformats.org/officeDocument/2006/relationships/chart" Target="../charts/chart2335.xml"/><Relationship Id="rId10" Type="http://schemas.openxmlformats.org/officeDocument/2006/relationships/chart" Target="../charts/chart2336.xml"/><Relationship Id="rId11" Type="http://schemas.openxmlformats.org/officeDocument/2006/relationships/chart" Target="../charts/chart2337.xml"/></Relationships>
</file>

<file path=ppt/slides/_rels/slide702.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notesSlide" Target="../notesSlides/notesSlide7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6.xml"/><Relationship Id="rId7" Type="http://schemas.openxmlformats.org/officeDocument/2006/relationships/chart" Target="../charts/chart2357.xml"/><Relationship Id="rId8" Type="http://schemas.openxmlformats.org/officeDocument/2006/relationships/chart" Target="../charts/chart2358.xml"/><Relationship Id="rId9" Type="http://schemas.openxmlformats.org/officeDocument/2006/relationships/chart" Target="../charts/chart2359.xml"/><Relationship Id="rId10" Type="http://schemas.openxmlformats.org/officeDocument/2006/relationships/chart" Target="../charts/chart2360.xml"/><Relationship Id="rId11" Type="http://schemas.openxmlformats.org/officeDocument/2006/relationships/chart" Target="../charts/chart2361.xml"/></Relationships>
</file>

<file path=ppt/slides/_rels/slide703.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notesSlide" Target="../notesSlides/notesSlide7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62.xml"/><Relationship Id="rId7" Type="http://schemas.openxmlformats.org/officeDocument/2006/relationships/chart" Target="../charts/chart2363.xml"/><Relationship Id="rId8" Type="http://schemas.openxmlformats.org/officeDocument/2006/relationships/chart" Target="../charts/chart2364.xml"/><Relationship Id="rId9" Type="http://schemas.openxmlformats.org/officeDocument/2006/relationships/chart" Target="../charts/chart2365.xml"/><Relationship Id="rId10" Type="http://schemas.openxmlformats.org/officeDocument/2006/relationships/chart" Target="../charts/chart2366.xml"/><Relationship Id="rId11" Type="http://schemas.openxmlformats.org/officeDocument/2006/relationships/chart" Target="../charts/chart2367.xml"/></Relationships>
</file>

<file path=ppt/slides/_rels/slide709.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notesSlide" Target="../notesSlides/notesSlide7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8.xml"/><Relationship Id="rId7" Type="http://schemas.openxmlformats.org/officeDocument/2006/relationships/chart" Target="../charts/chart2399.xml"/><Relationship Id="rId8" Type="http://schemas.openxmlformats.org/officeDocument/2006/relationships/chart" Target="../charts/chart2400.xml"/><Relationship Id="rId9" Type="http://schemas.openxmlformats.org/officeDocument/2006/relationships/chart" Target="../charts/chart2401.xml"/><Relationship Id="rId10" Type="http://schemas.openxmlformats.org/officeDocument/2006/relationships/chart" Target="../charts/chart2402.xml"/><Relationship Id="rId11" Type="http://schemas.openxmlformats.org/officeDocument/2006/relationships/chart" Target="../charts/chart240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xml"/><Relationship Id="rId3" Type="http://schemas.openxmlformats.org/officeDocument/2006/relationships/chart" Target="../charts/chart351.xml"/><Relationship Id="rId4" Type="http://schemas.openxmlformats.org/officeDocument/2006/relationships/chart" Target="../charts/chart352.xml"/><Relationship Id="rId5" Type="http://schemas.openxmlformats.org/officeDocument/2006/relationships/chart" Target="../charts/chart353.xml"/><Relationship Id="rId6" Type="http://schemas.openxmlformats.org/officeDocument/2006/relationships/chart" Target="../charts/chart354.xml"/><Relationship Id="rId7" Type="http://schemas.openxmlformats.org/officeDocument/2006/relationships/chart" Target="../charts/chart355.xml"/></Relationships>
</file>

<file path=ppt/slides/_rels/slide713.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notesSlide" Target="../notesSlides/notesSlide7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22.xml"/><Relationship Id="rId7" Type="http://schemas.openxmlformats.org/officeDocument/2006/relationships/chart" Target="../charts/chart2423.xml"/><Relationship Id="rId8" Type="http://schemas.openxmlformats.org/officeDocument/2006/relationships/chart" Target="../charts/chart2424.xml"/><Relationship Id="rId9" Type="http://schemas.openxmlformats.org/officeDocument/2006/relationships/chart" Target="../charts/chart2425.xml"/><Relationship Id="rId10" Type="http://schemas.openxmlformats.org/officeDocument/2006/relationships/chart" Target="../charts/chart2426.xml"/><Relationship Id="rId11" Type="http://schemas.openxmlformats.org/officeDocument/2006/relationships/chart" Target="../charts/chart2427.xml"/></Relationships>
</file>

<file path=ppt/slides/_rels/slide714.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notesSlide" Target="../notesSlides/notesSlide7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28.xml"/><Relationship Id="rId7" Type="http://schemas.openxmlformats.org/officeDocument/2006/relationships/chart" Target="../charts/chart2429.xml"/><Relationship Id="rId8" Type="http://schemas.openxmlformats.org/officeDocument/2006/relationships/chart" Target="../charts/chart2430.xml"/><Relationship Id="rId9" Type="http://schemas.openxmlformats.org/officeDocument/2006/relationships/chart" Target="../charts/chart2431.xml"/><Relationship Id="rId10" Type="http://schemas.openxmlformats.org/officeDocument/2006/relationships/chart" Target="../charts/chart2432.xml"/><Relationship Id="rId11" Type="http://schemas.openxmlformats.org/officeDocument/2006/relationships/chart" Target="../charts/chart2433.xml"/></Relationships>
</file>

<file path=ppt/slides/_rels/slide716.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7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40.xml"/><Relationship Id="rId7" Type="http://schemas.openxmlformats.org/officeDocument/2006/relationships/chart" Target="../charts/chart2441.xml"/><Relationship Id="rId8" Type="http://schemas.openxmlformats.org/officeDocument/2006/relationships/chart" Target="../charts/chart2442.xml"/><Relationship Id="rId9" Type="http://schemas.openxmlformats.org/officeDocument/2006/relationships/chart" Target="../charts/chart2443.xml"/><Relationship Id="rId10" Type="http://schemas.openxmlformats.org/officeDocument/2006/relationships/chart" Target="../charts/chart2444.xml"/><Relationship Id="rId11" Type="http://schemas.openxmlformats.org/officeDocument/2006/relationships/chart" Target="../charts/chart244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xml"/><Relationship Id="rId3" Type="http://schemas.openxmlformats.org/officeDocument/2006/relationships/chart" Target="../charts/chart356.xml"/><Relationship Id="rId4" Type="http://schemas.openxmlformats.org/officeDocument/2006/relationships/chart" Target="../charts/chart357.xml"/><Relationship Id="rId5" Type="http://schemas.openxmlformats.org/officeDocument/2006/relationships/chart" Target="../charts/chart358.xml"/><Relationship Id="rId6" Type="http://schemas.openxmlformats.org/officeDocument/2006/relationships/chart" Target="../charts/chart359.xml"/><Relationship Id="rId7" Type="http://schemas.openxmlformats.org/officeDocument/2006/relationships/chart" Target="../charts/chart360.xml"/></Relationships>
</file>

<file path=ppt/slides/_rels/slide720.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notesSlide" Target="../notesSlides/notesSlide7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64.xml"/><Relationship Id="rId7" Type="http://schemas.openxmlformats.org/officeDocument/2006/relationships/chart" Target="../charts/chart2465.xml"/><Relationship Id="rId8" Type="http://schemas.openxmlformats.org/officeDocument/2006/relationships/chart" Target="../charts/chart2466.xml"/><Relationship Id="rId9" Type="http://schemas.openxmlformats.org/officeDocument/2006/relationships/chart" Target="../charts/chart2467.xml"/><Relationship Id="rId10" Type="http://schemas.openxmlformats.org/officeDocument/2006/relationships/chart" Target="../charts/chart2468.xml"/><Relationship Id="rId11" Type="http://schemas.openxmlformats.org/officeDocument/2006/relationships/chart" Target="../charts/chart2469.xml"/></Relationships>
</file>

<file path=ppt/slides/_rels/slide724.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notesSlide" Target="../notesSlides/notesSlide7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88.xml"/><Relationship Id="rId7" Type="http://schemas.openxmlformats.org/officeDocument/2006/relationships/chart" Target="../charts/chart2489.xml"/><Relationship Id="rId8" Type="http://schemas.openxmlformats.org/officeDocument/2006/relationships/chart" Target="../charts/chart2490.xml"/><Relationship Id="rId9" Type="http://schemas.openxmlformats.org/officeDocument/2006/relationships/chart" Target="../charts/chart2491.xml"/><Relationship Id="rId10" Type="http://schemas.openxmlformats.org/officeDocument/2006/relationships/chart" Target="../charts/chart2492.xml"/><Relationship Id="rId11" Type="http://schemas.openxmlformats.org/officeDocument/2006/relationships/chart" Target="../charts/chart2493.xml"/></Relationships>
</file>

<file path=ppt/slides/_rels/slide725.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notesSlide" Target="../notesSlides/notesSlide7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4.xml"/><Relationship Id="rId7" Type="http://schemas.openxmlformats.org/officeDocument/2006/relationships/chart" Target="../charts/chart2495.xml"/><Relationship Id="rId8" Type="http://schemas.openxmlformats.org/officeDocument/2006/relationships/chart" Target="../charts/chart2496.xml"/><Relationship Id="rId9" Type="http://schemas.openxmlformats.org/officeDocument/2006/relationships/chart" Target="../charts/chart2497.xml"/><Relationship Id="rId10" Type="http://schemas.openxmlformats.org/officeDocument/2006/relationships/chart" Target="../charts/chart2498.xml"/><Relationship Id="rId11" Type="http://schemas.openxmlformats.org/officeDocument/2006/relationships/chart" Target="../charts/chart2499.xml"/></Relationships>
</file>

<file path=ppt/slides/_rels/slide727.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notesSlide" Target="../notesSlides/notesSlide7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06.xml"/><Relationship Id="rId7" Type="http://schemas.openxmlformats.org/officeDocument/2006/relationships/chart" Target="../charts/chart2507.xml"/><Relationship Id="rId8" Type="http://schemas.openxmlformats.org/officeDocument/2006/relationships/chart" Target="../charts/chart2508.xml"/><Relationship Id="rId9" Type="http://schemas.openxmlformats.org/officeDocument/2006/relationships/chart" Target="../charts/chart2509.xml"/><Relationship Id="rId10" Type="http://schemas.openxmlformats.org/officeDocument/2006/relationships/chart" Target="../charts/chart2510.xml"/><Relationship Id="rId11" Type="http://schemas.openxmlformats.org/officeDocument/2006/relationships/chart" Target="../charts/chart2511.xml"/></Relationships>
</file>

<file path=ppt/slides/_rels/slide731.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notesSlide" Target="../notesSlides/notesSlide7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0.xml"/><Relationship Id="rId7" Type="http://schemas.openxmlformats.org/officeDocument/2006/relationships/chart" Target="../charts/chart2531.xml"/><Relationship Id="rId8" Type="http://schemas.openxmlformats.org/officeDocument/2006/relationships/chart" Target="../charts/chart2532.xml"/><Relationship Id="rId9" Type="http://schemas.openxmlformats.org/officeDocument/2006/relationships/chart" Target="../charts/chart2533.xml"/><Relationship Id="rId10" Type="http://schemas.openxmlformats.org/officeDocument/2006/relationships/chart" Target="../charts/chart2534.xml"/><Relationship Id="rId11" Type="http://schemas.openxmlformats.org/officeDocument/2006/relationships/chart" Target="../charts/chart2535.xml"/></Relationships>
</file>

<file path=ppt/slides/_rels/slide735.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notesSlide" Target="../notesSlides/notesSlide7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4.xml"/><Relationship Id="rId7" Type="http://schemas.openxmlformats.org/officeDocument/2006/relationships/chart" Target="../charts/chart2555.xml"/><Relationship Id="rId8" Type="http://schemas.openxmlformats.org/officeDocument/2006/relationships/chart" Target="../charts/chart2556.xml"/><Relationship Id="rId9" Type="http://schemas.openxmlformats.org/officeDocument/2006/relationships/chart" Target="../charts/chart2557.xml"/><Relationship Id="rId10" Type="http://schemas.openxmlformats.org/officeDocument/2006/relationships/chart" Target="../charts/chart2558.xml"/><Relationship Id="rId11" Type="http://schemas.openxmlformats.org/officeDocument/2006/relationships/chart" Target="../charts/chart2559.xml"/></Relationships>
</file>

<file path=ppt/slides/_rels/slide738.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notesSlide" Target="../notesSlides/notesSlide7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2.xml"/><Relationship Id="rId7" Type="http://schemas.openxmlformats.org/officeDocument/2006/relationships/chart" Target="../charts/chart2573.xml"/><Relationship Id="rId8" Type="http://schemas.openxmlformats.org/officeDocument/2006/relationships/chart" Target="../charts/chart2574.xml"/><Relationship Id="rId9" Type="http://schemas.openxmlformats.org/officeDocument/2006/relationships/chart" Target="../charts/chart2575.xml"/><Relationship Id="rId10" Type="http://schemas.openxmlformats.org/officeDocument/2006/relationships/chart" Target="../charts/chart2576.xml"/><Relationship Id="rId11" Type="http://schemas.openxmlformats.org/officeDocument/2006/relationships/chart" Target="../charts/chart2577.xml"/></Relationships>
</file>

<file path=ppt/slides/_rels/slide742.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notesSlide" Target="../notesSlides/notesSlide7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6.xml"/><Relationship Id="rId7" Type="http://schemas.openxmlformats.org/officeDocument/2006/relationships/chart" Target="../charts/chart2597.xml"/><Relationship Id="rId8" Type="http://schemas.openxmlformats.org/officeDocument/2006/relationships/chart" Target="../charts/chart2598.xml"/><Relationship Id="rId9" Type="http://schemas.openxmlformats.org/officeDocument/2006/relationships/chart" Target="../charts/chart2599.xml"/><Relationship Id="rId10" Type="http://schemas.openxmlformats.org/officeDocument/2006/relationships/chart" Target="../charts/chart2600.xml"/><Relationship Id="rId11" Type="http://schemas.openxmlformats.org/officeDocument/2006/relationships/chart" Target="../charts/chart2601.xml"/></Relationships>
</file>

<file path=ppt/slides/_rels/slide749.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notesSlide" Target="../notesSlides/notesSlide7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8.xml"/><Relationship Id="rId7" Type="http://schemas.openxmlformats.org/officeDocument/2006/relationships/chart" Target="../charts/chart2639.xml"/><Relationship Id="rId8" Type="http://schemas.openxmlformats.org/officeDocument/2006/relationships/chart" Target="../charts/chart2640.xml"/><Relationship Id="rId9" Type="http://schemas.openxmlformats.org/officeDocument/2006/relationships/chart" Target="../charts/chart2641.xml"/><Relationship Id="rId10" Type="http://schemas.openxmlformats.org/officeDocument/2006/relationships/chart" Target="../charts/chart2642.xml"/><Relationship Id="rId11" Type="http://schemas.openxmlformats.org/officeDocument/2006/relationships/chart" Target="../charts/chart2643.xml"/></Relationships>
</file>

<file path=ppt/slides/_rels/slide753.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notesSlide" Target="../notesSlides/notesSlide7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62.xml"/><Relationship Id="rId7" Type="http://schemas.openxmlformats.org/officeDocument/2006/relationships/chart" Target="../charts/chart2663.xml"/><Relationship Id="rId8" Type="http://schemas.openxmlformats.org/officeDocument/2006/relationships/chart" Target="../charts/chart2664.xml"/><Relationship Id="rId9" Type="http://schemas.openxmlformats.org/officeDocument/2006/relationships/chart" Target="../charts/chart2665.xml"/><Relationship Id="rId10" Type="http://schemas.openxmlformats.org/officeDocument/2006/relationships/chart" Target="../charts/chart2666.xml"/><Relationship Id="rId11" Type="http://schemas.openxmlformats.org/officeDocument/2006/relationships/chart" Target="../charts/chart2667.xml"/></Relationships>
</file>

<file path=ppt/slides/_rels/slide756.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notesSlide" Target="../notesSlides/notesSlide7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80.xml"/><Relationship Id="rId7" Type="http://schemas.openxmlformats.org/officeDocument/2006/relationships/chart" Target="../charts/chart2681.xml"/><Relationship Id="rId8" Type="http://schemas.openxmlformats.org/officeDocument/2006/relationships/chart" Target="../charts/chart2682.xml"/><Relationship Id="rId9" Type="http://schemas.openxmlformats.org/officeDocument/2006/relationships/chart" Target="../charts/chart2683.xml"/><Relationship Id="rId10" Type="http://schemas.openxmlformats.org/officeDocument/2006/relationships/chart" Target="../charts/chart2684.xml"/><Relationship Id="rId11" Type="http://schemas.openxmlformats.org/officeDocument/2006/relationships/chart" Target="../charts/chart2685.xml"/></Relationships>
</file>

<file path=ppt/slides/_rels/slide760.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notesSlide" Target="../notesSlides/notesSlide7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04.xml"/><Relationship Id="rId7" Type="http://schemas.openxmlformats.org/officeDocument/2006/relationships/chart" Target="../charts/chart2705.xml"/><Relationship Id="rId8" Type="http://schemas.openxmlformats.org/officeDocument/2006/relationships/chart" Target="../charts/chart2706.xml"/><Relationship Id="rId9" Type="http://schemas.openxmlformats.org/officeDocument/2006/relationships/chart" Target="../charts/chart2707.xml"/><Relationship Id="rId10" Type="http://schemas.openxmlformats.org/officeDocument/2006/relationships/chart" Target="../charts/chart2708.xml"/><Relationship Id="rId11" Type="http://schemas.openxmlformats.org/officeDocument/2006/relationships/chart" Target="../charts/chart2709.xml"/></Relationships>
</file>

<file path=ppt/slides/_rels/slide764.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notesSlide" Target="../notesSlides/notesSlide7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28.xml"/><Relationship Id="rId7" Type="http://schemas.openxmlformats.org/officeDocument/2006/relationships/chart" Target="../charts/chart2729.xml"/><Relationship Id="rId8" Type="http://schemas.openxmlformats.org/officeDocument/2006/relationships/chart" Target="../charts/chart2730.xml"/><Relationship Id="rId9" Type="http://schemas.openxmlformats.org/officeDocument/2006/relationships/chart" Target="../charts/chart2731.xml"/><Relationship Id="rId10" Type="http://schemas.openxmlformats.org/officeDocument/2006/relationships/chart" Target="../charts/chart2732.xml"/><Relationship Id="rId11" Type="http://schemas.openxmlformats.org/officeDocument/2006/relationships/chart" Target="../charts/chart2733.xml"/></Relationships>
</file>

<file path=ppt/slides/_rels/slide765.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notesSlide" Target="../notesSlides/notesSlide7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4.xml"/><Relationship Id="rId7" Type="http://schemas.openxmlformats.org/officeDocument/2006/relationships/chart" Target="../charts/chart2735.xml"/><Relationship Id="rId8" Type="http://schemas.openxmlformats.org/officeDocument/2006/relationships/chart" Target="../charts/chart2736.xml"/><Relationship Id="rId9" Type="http://schemas.openxmlformats.org/officeDocument/2006/relationships/chart" Target="../charts/chart2737.xml"/><Relationship Id="rId10" Type="http://schemas.openxmlformats.org/officeDocument/2006/relationships/chart" Target="../charts/chart2738.xml"/><Relationship Id="rId11" Type="http://schemas.openxmlformats.org/officeDocument/2006/relationships/chart" Target="../charts/chart2739.xml"/></Relationships>
</file>

<file path=ppt/slides/_rels/slide766.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notesSlide" Target="../notesSlides/notesSlide7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40.xml"/><Relationship Id="rId7" Type="http://schemas.openxmlformats.org/officeDocument/2006/relationships/chart" Target="../charts/chart2741.xml"/><Relationship Id="rId8" Type="http://schemas.openxmlformats.org/officeDocument/2006/relationships/chart" Target="../charts/chart2742.xml"/><Relationship Id="rId9" Type="http://schemas.openxmlformats.org/officeDocument/2006/relationships/chart" Target="../charts/chart2743.xml"/><Relationship Id="rId10" Type="http://schemas.openxmlformats.org/officeDocument/2006/relationships/chart" Target="../charts/chart2744.xml"/><Relationship Id="rId11" Type="http://schemas.openxmlformats.org/officeDocument/2006/relationships/chart" Target="../charts/chart2745.xml"/></Relationships>
</file>

<file path=ppt/slides/_rels/slide767.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7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46.xml"/><Relationship Id="rId7" Type="http://schemas.openxmlformats.org/officeDocument/2006/relationships/chart" Target="../charts/chart2747.xml"/><Relationship Id="rId8" Type="http://schemas.openxmlformats.org/officeDocument/2006/relationships/chart" Target="../charts/chart2748.xml"/><Relationship Id="rId9" Type="http://schemas.openxmlformats.org/officeDocument/2006/relationships/chart" Target="../charts/chart2749.xml"/><Relationship Id="rId10" Type="http://schemas.openxmlformats.org/officeDocument/2006/relationships/chart" Target="../charts/chart2750.xml"/><Relationship Id="rId11" Type="http://schemas.openxmlformats.org/officeDocument/2006/relationships/chart" Target="../charts/chart2751.xml"/></Relationships>
</file>

<file path=ppt/slides/_rels/slide771.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notesSlide" Target="../notesSlides/notesSlide7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0.xml"/><Relationship Id="rId7" Type="http://schemas.openxmlformats.org/officeDocument/2006/relationships/chart" Target="../charts/chart2771.xml"/><Relationship Id="rId8" Type="http://schemas.openxmlformats.org/officeDocument/2006/relationships/chart" Target="../charts/chart2772.xml"/><Relationship Id="rId9" Type="http://schemas.openxmlformats.org/officeDocument/2006/relationships/chart" Target="../charts/chart2773.xml"/><Relationship Id="rId10" Type="http://schemas.openxmlformats.org/officeDocument/2006/relationships/chart" Target="../charts/chart2774.xml"/><Relationship Id="rId11" Type="http://schemas.openxmlformats.org/officeDocument/2006/relationships/chart" Target="../charts/chart2775.xml"/></Relationships>
</file>

<file path=ppt/slides/_rels/slide775.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notesSlide" Target="../notesSlides/notesSlide7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4.xml"/><Relationship Id="rId7" Type="http://schemas.openxmlformats.org/officeDocument/2006/relationships/chart" Target="../charts/chart2795.xml"/><Relationship Id="rId8" Type="http://schemas.openxmlformats.org/officeDocument/2006/relationships/chart" Target="../charts/chart2796.xml"/><Relationship Id="rId9" Type="http://schemas.openxmlformats.org/officeDocument/2006/relationships/chart" Target="../charts/chart2797.xml"/><Relationship Id="rId10" Type="http://schemas.openxmlformats.org/officeDocument/2006/relationships/chart" Target="../charts/chart2798.xml"/><Relationship Id="rId11" Type="http://schemas.openxmlformats.org/officeDocument/2006/relationships/chart" Target="../charts/chart2799.xml"/></Relationships>
</file>

<file path=ppt/slides/_rels/slide777.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notesSlide" Target="../notesSlides/notesSlide7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06.xml"/><Relationship Id="rId7" Type="http://schemas.openxmlformats.org/officeDocument/2006/relationships/chart" Target="../charts/chart2807.xml"/><Relationship Id="rId8" Type="http://schemas.openxmlformats.org/officeDocument/2006/relationships/chart" Target="../charts/chart2808.xml"/><Relationship Id="rId9" Type="http://schemas.openxmlformats.org/officeDocument/2006/relationships/chart" Target="../charts/chart2809.xml"/><Relationship Id="rId10" Type="http://schemas.openxmlformats.org/officeDocument/2006/relationships/chart" Target="../charts/chart2810.xml"/><Relationship Id="rId11" Type="http://schemas.openxmlformats.org/officeDocument/2006/relationships/chart" Target="../charts/chart2811.xml"/></Relationships>
</file>

<file path=ppt/slides/_rels/slide778.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notesSlide" Target="../notesSlides/notesSlide778.xml"/><Relationship Id="rId4" Type="http://schemas.openxmlformats.org/officeDocument/2006/relationships/chart" Target="../charts/chart281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xml"/><Relationship Id="rId3" Type="http://schemas.openxmlformats.org/officeDocument/2006/relationships/chart" Target="../charts/chart386.xml"/><Relationship Id="rId4" Type="http://schemas.openxmlformats.org/officeDocument/2006/relationships/chart" Target="../charts/chart387.xml"/><Relationship Id="rId5" Type="http://schemas.openxmlformats.org/officeDocument/2006/relationships/chart" Target="../charts/chart388.xml"/><Relationship Id="rId6" Type="http://schemas.openxmlformats.org/officeDocument/2006/relationships/chart" Target="../charts/chart389.xml"/><Relationship Id="rId7" Type="http://schemas.openxmlformats.org/officeDocument/2006/relationships/chart" Target="../charts/chart390.xml"/></Relationships>
</file>

<file path=ppt/slides/_rels/slide782.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notesSlide" Target="../notesSlides/notesSlide782.xml"/><Relationship Id="rId4" Type="http://schemas.openxmlformats.org/officeDocument/2006/relationships/chart" Target="../charts/chart2816.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88.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notesSlide" Target="../notesSlides/notesSlide788.xml"/><Relationship Id="rId4" Type="http://schemas.openxmlformats.org/officeDocument/2006/relationships/chart" Target="../charts/chart282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89.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789.xml"/><Relationship Id="rId4" Type="http://schemas.openxmlformats.org/officeDocument/2006/relationships/chart" Target="../charts/chart2823.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93.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notesSlide" Target="../notesSlides/notesSlide793.xml"/><Relationship Id="rId4" Type="http://schemas.openxmlformats.org/officeDocument/2006/relationships/chart" Target="../charts/chart282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98.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notesSlide" Target="../notesSlides/notesSlide798.xml"/><Relationship Id="rId4" Type="http://schemas.openxmlformats.org/officeDocument/2006/relationships/chart" Target="../charts/chart283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02.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notesSlide" Target="../notesSlides/notesSlide802.xml"/><Relationship Id="rId4" Type="http://schemas.openxmlformats.org/officeDocument/2006/relationships/chart" Target="../charts/chart2836.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03.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803.xml"/><Relationship Id="rId4" Type="http://schemas.openxmlformats.org/officeDocument/2006/relationships/chart" Target="../charts/chart283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09.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notesSlide" Target="../notesSlides/notesSlide809.xml"/><Relationship Id="rId4" Type="http://schemas.openxmlformats.org/officeDocument/2006/relationships/chart" Target="../charts/chart2843.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13.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notesSlide" Target="../notesSlides/notesSlide813.xml"/><Relationship Id="rId4" Type="http://schemas.openxmlformats.org/officeDocument/2006/relationships/chart" Target="../charts/chart284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14.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notesSlide" Target="../notesSlides/notesSlide814.xml"/><Relationship Id="rId4" Type="http://schemas.openxmlformats.org/officeDocument/2006/relationships/chart" Target="../charts/chart2848.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16.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notesSlide" Target="../notesSlides/notesSlide816.xml"/><Relationship Id="rId4" Type="http://schemas.openxmlformats.org/officeDocument/2006/relationships/chart" Target="../charts/chart2850.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xml"/><Relationship Id="rId3" Type="http://schemas.openxmlformats.org/officeDocument/2006/relationships/chart" Target="../charts/chart406.xml"/><Relationship Id="rId4" Type="http://schemas.openxmlformats.org/officeDocument/2006/relationships/chart" Target="../charts/chart407.xml"/><Relationship Id="rId5" Type="http://schemas.openxmlformats.org/officeDocument/2006/relationships/chart" Target="../charts/chart408.xml"/><Relationship Id="rId6" Type="http://schemas.openxmlformats.org/officeDocument/2006/relationships/chart" Target="../charts/chart409.xml"/><Relationship Id="rId7" Type="http://schemas.openxmlformats.org/officeDocument/2006/relationships/chart" Target="../charts/chart410.xml"/></Relationships>
</file>

<file path=ppt/slides/_rels/slide820.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notesSlide" Target="../notesSlides/notesSlide820.xml"/><Relationship Id="rId4" Type="http://schemas.openxmlformats.org/officeDocument/2006/relationships/chart" Target="../charts/chart2854.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25.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notesSlide" Target="../notesSlides/notesSlide825.xml"/><Relationship Id="rId4" Type="http://schemas.openxmlformats.org/officeDocument/2006/relationships/chart" Target="../charts/chart2859.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27.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notesSlide" Target="../notesSlides/notesSlide827.xml"/><Relationship Id="rId4" Type="http://schemas.openxmlformats.org/officeDocument/2006/relationships/chart" Target="../charts/chart2861.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xml"/><Relationship Id="rId3" Type="http://schemas.openxmlformats.org/officeDocument/2006/relationships/chart" Target="../charts/chart411.xml"/><Relationship Id="rId4" Type="http://schemas.openxmlformats.org/officeDocument/2006/relationships/chart" Target="../charts/chart412.xml"/><Relationship Id="rId5" Type="http://schemas.openxmlformats.org/officeDocument/2006/relationships/chart" Target="../charts/chart413.xml"/><Relationship Id="rId6" Type="http://schemas.openxmlformats.org/officeDocument/2006/relationships/chart" Target="../charts/chart414.xml"/><Relationship Id="rId7" Type="http://schemas.openxmlformats.org/officeDocument/2006/relationships/chart" Target="../charts/chart41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xml"/><Relationship Id="rId3" Type="http://schemas.openxmlformats.org/officeDocument/2006/relationships/chart" Target="../charts/chart441.xml"/><Relationship Id="rId4" Type="http://schemas.openxmlformats.org/officeDocument/2006/relationships/chart" Target="../charts/chart442.xml"/><Relationship Id="rId5" Type="http://schemas.openxmlformats.org/officeDocument/2006/relationships/chart" Target="../charts/chart443.xml"/><Relationship Id="rId6" Type="http://schemas.openxmlformats.org/officeDocument/2006/relationships/chart" Target="../charts/chart444.xml"/><Relationship Id="rId7" Type="http://schemas.openxmlformats.org/officeDocument/2006/relationships/chart" Target="../charts/chart4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41.xml"/><Relationship Id="rId4" Type="http://schemas.openxmlformats.org/officeDocument/2006/relationships/chart" Target="../charts/chart42.xml"/><Relationship Id="rId5" Type="http://schemas.openxmlformats.org/officeDocument/2006/relationships/chart" Target="../charts/chart43.xml"/><Relationship Id="rId6" Type="http://schemas.openxmlformats.org/officeDocument/2006/relationships/chart" Target="../charts/chart44.xml"/><Relationship Id="rId7" Type="http://schemas.openxmlformats.org/officeDocument/2006/relationships/chart" Target="../charts/chart4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xml"/><Relationship Id="rId3" Type="http://schemas.openxmlformats.org/officeDocument/2006/relationships/chart" Target="../charts/chart461.xml"/><Relationship Id="rId4" Type="http://schemas.openxmlformats.org/officeDocument/2006/relationships/chart" Target="../charts/chart462.xml"/><Relationship Id="rId5" Type="http://schemas.openxmlformats.org/officeDocument/2006/relationships/chart" Target="../charts/chart463.xml"/><Relationship Id="rId6" Type="http://schemas.openxmlformats.org/officeDocument/2006/relationships/chart" Target="../charts/chart464.xml"/><Relationship Id="rId7" Type="http://schemas.openxmlformats.org/officeDocument/2006/relationships/chart" Target="../charts/chart46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4.xml"/><Relationship Id="rId3" Type="http://schemas.openxmlformats.org/officeDocument/2006/relationships/chart" Target="../charts/chart466.xml"/><Relationship Id="rId4" Type="http://schemas.openxmlformats.org/officeDocument/2006/relationships/chart" Target="../charts/chart467.xml"/><Relationship Id="rId5" Type="http://schemas.openxmlformats.org/officeDocument/2006/relationships/chart" Target="../charts/chart468.xml"/><Relationship Id="rId6" Type="http://schemas.openxmlformats.org/officeDocument/2006/relationships/chart" Target="../charts/chart469.xml"/><Relationship Id="rId7" Type="http://schemas.openxmlformats.org/officeDocument/2006/relationships/chart" Target="../charts/chart47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7.xml"/><Relationship Id="rId3" Type="http://schemas.openxmlformats.org/officeDocument/2006/relationships/chart" Target="../charts/chart481.xml"/><Relationship Id="rId4" Type="http://schemas.openxmlformats.org/officeDocument/2006/relationships/chart" Target="../charts/chart482.xml"/><Relationship Id="rId5" Type="http://schemas.openxmlformats.org/officeDocument/2006/relationships/chart" Target="../charts/chart483.xml"/><Relationship Id="rId6" Type="http://schemas.openxmlformats.org/officeDocument/2006/relationships/chart" Target="../charts/chart484.xml"/><Relationship Id="rId7" Type="http://schemas.openxmlformats.org/officeDocument/2006/relationships/chart" Target="../charts/chart485.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Amazon 3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2653896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221252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15048609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9003508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41452157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47428735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84275440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278875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5298206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63106760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1627210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20069486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37715893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99050510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8160253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0132484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08552413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43372649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77972525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32709522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94431588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637331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17437441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96898959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4220990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65966529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37264989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05290453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isposabl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58500874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82404786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32850251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5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2778133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86546307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42126231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07321105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azo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219848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Amazo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59656344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38035174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54766395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9071505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424153284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72623077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3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36">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36">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36">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3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36">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36">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36">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3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17779905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Hybri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86991997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fill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36012056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84933421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2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92742593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61539663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6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7358989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90995336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995118306"/>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38667108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60023295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3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36">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36">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36">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36">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36">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36">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36">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3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1159017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3435978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74489814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Bic: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86203736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46187042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Xtrem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50200503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1591098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84025583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23307181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59407849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75618105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24534771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4046771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95070655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177570788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32508196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55802135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298349815"/>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208196179"/>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673617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CVS Cor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4197264587"/>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15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15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62408378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88809208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52644920"/>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126553204"/>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1946458061"/>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8965100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693005659"/>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15877791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05443193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275963007"/>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062193454"/>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2081396682"/>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850517262"/>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78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787">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78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787">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78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787">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787">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78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78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4007676040"/>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69446671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67122519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042080323"/>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419775819"/>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78429224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889207066"/>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08727407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938083947"/>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85271004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517717556"/>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952142905"/>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890166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Bic: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060307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058340883"/>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98039800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409448052"/>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8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8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8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4898396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51511518"/>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030164258"/>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147453234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84721264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731763820"/>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69548769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212467528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7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7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7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7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7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70">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7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13816273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94712361"/>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072000749"/>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729611001"/>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5537196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170082229"/>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15491936"/>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2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2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2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2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28">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28">
                <a:tc>
                  <a:txBody>
                    <a:bodyPr/>
                    <a:lstStyle/>
                    <a:p>
                      <a:pPr>
                        <a:defRPr sz="900">
                          <a:latin typeface="Nexa Bold"/>
                        </a:defRPr>
                      </a:pPr>
                      <a:r>
                        <a:t>St2/Slim Tw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2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2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2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988804903"/>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532521431"/>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75558393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23275691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630369352"/>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2399338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328812520"/>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837933315"/>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8405831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30457281"/>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630867668"/>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812106373"/>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703063530"/>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99085636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38044292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71662992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988583237"/>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5069270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93365508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37495307"/>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68566788"/>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41908240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927543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365810775"/>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15250384"/>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21689202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561377768"/>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329607421"/>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235939309"/>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171346726"/>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788593504"/>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007199084"/>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225667340"/>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825868135"/>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413584236"/>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802748858"/>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7720171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84613797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873694354"/>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91349650"/>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830383609"/>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524789097"/>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161634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60826349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66794193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041721315"/>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4026803"/>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8576652"/>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60565837"/>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36606945"/>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375566188"/>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120252043"/>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460393286"/>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022655073"/>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29000446"/>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852338"/>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6299715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24772276"/>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365593690"/>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856811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816138757"/>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48814923"/>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59725340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647966892"/>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30720999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0976045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737608404"/>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523498145"/>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defRPr sz="800" b="1">
                          <a:solidFill>
                            <a:srgbClr val="575555"/>
                          </a:solidFill>
                          <a:latin typeface="Nexa Bold"/>
                        </a:defRPr>
                      </a:pP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pPr algn="ctr">
                        <a:defRPr sz="800" b="1">
                          <a:solidFill>
                            <a:srgbClr val="575555"/>
                          </a:solidFill>
                          <a:latin typeface="Nexa Bold"/>
                        </a:defRPr>
                      </a:pPr>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a:t>
                      </a:r>
                    </a:p>
                    <a:p>
                      <a: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b="1">
                          <a:solidFill>
                            <a:srgbClr val="575555"/>
                          </a:solidFill>
                          <a:latin typeface="Nexa Bold"/>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434872892"/>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186224571"/>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765787233"/>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01136382"/>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520259226"/>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4221715292"/>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8594815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10692944"/>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148413527"/>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720022009"/>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806088277"/>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757574321"/>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107358760"/>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3160657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158487039"/>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4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382850250"/>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349730466"/>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713898796"/>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51634671"/>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917831565"/>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656655241"/>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879740503"/>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294938594"/>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668412725"/>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304109192"/>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036879601"/>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8970437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473951398"/>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573152229"/>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294412115"/>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42163544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29808362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289253999"/>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bri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132102021"/>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47327569"/>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615449337"/>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566196096"/>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bri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056584733"/>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272754919"/>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2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954014573"/>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1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111718415"/>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094367296"/>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476705789"/>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955138893"/>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632085257"/>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774853746"/>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487946942"/>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632599879"/>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485285870"/>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887840937"/>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768142267"/>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2F2F2"/>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Div1 Corp</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14194640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326305895"/>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Disposabl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CBEAE7"/>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FBFBF"/>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 Sc Corp</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2F2F2"/>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Div1 Corp</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Walmart Nm Corp</a:t>
                      </a:r>
                    </a:p>
                  </a:txBody>
                  <a:tcPr marL="36000" marR="36000" marT="4763" marB="0" anchor="ctr">
                    <a:solidFill>
                      <a:srgbClr val="F2F2F2"/>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F2F2F2"/>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Bic Silky Touch/Amazon 1P</a:t>
                      </a:r>
                    </a:p>
                  </a:txBody>
                  <a:tcPr marL="36000" marR="36000" marT="4763" marB="0" anchor="ctr">
                    <a:solidFill>
                      <a:srgbClr val="FFBFBF"/>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Daisy/CVS</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Nm Corp</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Daisy/Amazon 1P</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Div1 Cor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 Div1 Cor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CV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329956122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azor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2F2F2"/>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F2F2F2"/>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2F2F2"/>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Amazon/Amazon 1P</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Billie/CVS</a:t>
                      </a:r>
                    </a:p>
                  </a:txBody>
                  <a:tcPr marL="36000" marR="36000" marT="4763" marB="0" anchor="ctr">
                    <a:solidFill>
                      <a:srgbClr val="F2F2F2"/>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CVS</a:t>
                      </a:r>
                    </a:p>
                  </a:txBody>
                  <a:tcPr marL="36000" marR="36000" marT="4763" marB="0" anchor="ctr">
                    <a:solidFill>
                      <a:srgbClr val="F2F2F2"/>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Amazon 3P</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 Sc Corp</a:t>
                      </a:r>
                    </a:p>
                  </a:txBody>
                  <a:tcPr marL="36000" marR="36000" marT="4763" marB="0" anchor="ctr">
                    <a:solidFill>
                      <a:srgbClr val="CBEAE7"/>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 3P</a:t>
                      </a:r>
                    </a:p>
                  </a:txBody>
                  <a:tcPr marL="36000" marR="36000" marT="4763" marB="0" anchor="ctr">
                    <a:solidFill>
                      <a:srgbClr val="CBEAE7"/>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 Div1 Corp</a:t>
                      </a:r>
                    </a:p>
                  </a:txBody>
                  <a:tcPr marL="36000" marR="36000" marT="4763" marB="0" anchor="ctr">
                    <a:solidFill>
                      <a:srgbClr val="F2F2F2"/>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 1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Flamingo/Amazon 1P</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Nm Corp</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Nm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18511137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azor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2"/>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71122">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1169718394"/>
                  </a:ext>
                </a:extLst>
              </a:tr>
              <a:tr h="171122">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F2F2F2"/>
                    </a:solidFill>
                  </a:tcPr>
                </a:tc>
                <a:extLst>
                  <a:ext uri="{0D108BD9-81ED-4DB2-BD59-A6C34878D82A}">
                    <a16:rowId xmlns:a16="http://schemas.microsoft.com/office/drawing/2014/main" val="1278576935"/>
                  </a:ext>
                </a:extLst>
              </a:tr>
              <a:tr h="171122">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F2F2F2"/>
                    </a:solidFill>
                  </a:tcPr>
                </a:tc>
                <a:extLst>
                  <a:ext uri="{0D108BD9-81ED-4DB2-BD59-A6C34878D82A}">
                    <a16:rowId xmlns:a16="http://schemas.microsoft.com/office/drawing/2014/main" val="3699202022"/>
                  </a:ext>
                </a:extLst>
              </a:tr>
              <a:tr h="171122">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a:t>
                      </a:r>
                    </a:p>
                  </a:txBody>
                  <a:tcPr marL="36000" marR="36000" marT="4763" marB="0" anchor="ctr">
                    <a:solidFill>
                      <a:srgbClr val="FFBFBF"/>
                    </a:solidFill>
                  </a:tcPr>
                </a:tc>
                <a:extLst>
                  <a:ext uri="{0D108BD9-81ED-4DB2-BD59-A6C34878D82A}">
                    <a16:rowId xmlns:a16="http://schemas.microsoft.com/office/drawing/2014/main" val="2267262216"/>
                  </a:ext>
                </a:extLst>
              </a:tr>
              <a:tr h="171122">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716470959"/>
                  </a:ext>
                </a:extLst>
              </a:tr>
              <a:tr h="171122">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FFBFBF"/>
                    </a:solidFill>
                  </a:tcPr>
                </a:tc>
                <a:extLst>
                  <a:ext uri="{0D108BD9-81ED-4DB2-BD59-A6C34878D82A}">
                    <a16:rowId xmlns:a16="http://schemas.microsoft.com/office/drawing/2014/main" val="2860330723"/>
                  </a:ext>
                </a:extLst>
              </a:tr>
              <a:tr h="171122">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FFBFBF"/>
                    </a:solidFill>
                  </a:tcPr>
                </a:tc>
                <a:extLst>
                  <a:ext uri="{0D108BD9-81ED-4DB2-BD59-A6C34878D82A}">
                    <a16:rowId xmlns:a16="http://schemas.microsoft.com/office/drawing/2014/main" val="98934626"/>
                  </a:ext>
                </a:extLst>
              </a:tr>
              <a:tr h="171122">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a:t>
                      </a:r>
                    </a:p>
                  </a:txBody>
                  <a:tcPr marL="36000" marR="36000" marT="4763" marB="0" anchor="ctr">
                    <a:solidFill>
                      <a:srgbClr val="F2F2F2"/>
                    </a:solidFill>
                  </a:tcPr>
                </a:tc>
                <a:extLst>
                  <a:ext uri="{0D108BD9-81ED-4DB2-BD59-A6C34878D82A}">
                    <a16:rowId xmlns:a16="http://schemas.microsoft.com/office/drawing/2014/main" val="3049926520"/>
                  </a:ext>
                </a:extLst>
              </a:tr>
              <a:tr h="171122">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Amazon/Amazon</a:t>
                      </a:r>
                    </a:p>
                  </a:txBody>
                  <a:tcPr marL="36000" marR="36000" marT="4763" marB="0" anchor="ctr">
                    <a:solidFill>
                      <a:srgbClr val="FFBFBF"/>
                    </a:solidFill>
                  </a:tcPr>
                </a:tc>
                <a:extLst>
                  <a:ext uri="{0D108BD9-81ED-4DB2-BD59-A6C34878D82A}">
                    <a16:rowId xmlns:a16="http://schemas.microsoft.com/office/drawing/2014/main" val="3518559538"/>
                  </a:ext>
                </a:extLst>
              </a:tr>
              <a:tr h="171122">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CBEAE7"/>
                    </a:solidFill>
                  </a:tcPr>
                </a:tc>
                <a:extLst>
                  <a:ext uri="{0D108BD9-81ED-4DB2-BD59-A6C34878D82A}">
                    <a16:rowId xmlns:a16="http://schemas.microsoft.com/office/drawing/2014/main" val="3886752891"/>
                  </a:ext>
                </a:extLst>
              </a:tr>
              <a:tr h="171122">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477306869"/>
                  </a:ext>
                </a:extLst>
              </a:tr>
              <a:tr h="171122">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Billie/CVS Corp</a:t>
                      </a:r>
                    </a:p>
                  </a:txBody>
                  <a:tcPr marL="36000" marR="36000" marT="4763" marB="0" anchor="ctr">
                    <a:solidFill>
                      <a:srgbClr val="F2F2F2"/>
                    </a:solidFill>
                  </a:tcPr>
                </a:tc>
                <a:extLst>
                  <a:ext uri="{0D108BD9-81ED-4DB2-BD59-A6C34878D82A}">
                    <a16:rowId xmlns:a16="http://schemas.microsoft.com/office/drawing/2014/main" val="264026324"/>
                  </a:ext>
                </a:extLst>
              </a:tr>
              <a:tr h="171122">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2F2F2"/>
                    </a:solidFill>
                  </a:tcPr>
                </a:tc>
                <a:extLst>
                  <a:ext uri="{0D108BD9-81ED-4DB2-BD59-A6C34878D82A}">
                    <a16:rowId xmlns:a16="http://schemas.microsoft.com/office/drawing/2014/main" val="613793393"/>
                  </a:ext>
                </a:extLst>
              </a:tr>
              <a:tr h="171122">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 Corp</a:t>
                      </a:r>
                    </a:p>
                  </a:txBody>
                  <a:tcPr marL="36000" marR="36000" marT="4763" marB="0" anchor="ctr">
                    <a:solidFill>
                      <a:srgbClr val="CBEAE7"/>
                    </a:solidFill>
                  </a:tcPr>
                </a:tc>
                <a:extLst>
                  <a:ext uri="{0D108BD9-81ED-4DB2-BD59-A6C34878D82A}">
                    <a16:rowId xmlns:a16="http://schemas.microsoft.com/office/drawing/2014/main" val="4246246309"/>
                  </a:ext>
                </a:extLst>
              </a:tr>
              <a:tr h="171122">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a:t>
                      </a:r>
                    </a:p>
                  </a:txBody>
                  <a:tcPr marL="36000" marR="36000" marT="4763" marB="0" anchor="ctr">
                    <a:solidFill>
                      <a:srgbClr val="CBEAE7"/>
                    </a:solidFill>
                  </a:tcPr>
                </a:tc>
                <a:extLst>
                  <a:ext uri="{0D108BD9-81ED-4DB2-BD59-A6C34878D82A}">
                    <a16:rowId xmlns:a16="http://schemas.microsoft.com/office/drawing/2014/main" val="418503086"/>
                  </a:ext>
                </a:extLst>
              </a:tr>
              <a:tr h="171122">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Amazon</a:t>
                      </a:r>
                    </a:p>
                  </a:txBody>
                  <a:tcPr marL="36000" marR="36000" marT="4763" marB="0" anchor="ctr">
                    <a:solidFill>
                      <a:srgbClr val="CBEAE7"/>
                    </a:solidFill>
                  </a:tcPr>
                </a:tc>
                <a:extLst>
                  <a:ext uri="{0D108BD9-81ED-4DB2-BD59-A6C34878D82A}">
                    <a16:rowId xmlns:a16="http://schemas.microsoft.com/office/drawing/2014/main" val="381854689"/>
                  </a:ext>
                </a:extLst>
              </a:tr>
              <a:tr h="171122">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a:t>
                      </a:r>
                    </a:p>
                  </a:txBody>
                  <a:tcPr marL="36000" marR="36000" marT="4763" marB="0" anchor="ctr">
                    <a:solidFill>
                      <a:srgbClr val="CBEAE7"/>
                    </a:solidFill>
                  </a:tcPr>
                </a:tc>
                <a:extLst>
                  <a:ext uri="{0D108BD9-81ED-4DB2-BD59-A6C34878D82A}">
                    <a16:rowId xmlns:a16="http://schemas.microsoft.com/office/drawing/2014/main" val="362768916"/>
                  </a:ext>
                </a:extLst>
              </a:tr>
              <a:tr h="171122">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1139766948"/>
                  </a:ext>
                </a:extLst>
              </a:tr>
              <a:tr h="171122">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687090376"/>
                  </a:ext>
                </a:extLst>
              </a:tr>
              <a:tr h="171122">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182192680"/>
                  </a:ext>
                </a:extLst>
              </a:tr>
              <a:tr h="171122">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15304280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1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26689">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477306869"/>
                  </a:ext>
                </a:extLst>
              </a:tr>
              <a:tr h="326689">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Walmart</a:t>
                      </a:r>
                    </a:p>
                  </a:txBody>
                  <a:tcPr marL="36000" marR="36000" marT="4763" marB="0" anchor="ctr">
                    <a:solidFill>
                      <a:srgbClr val="FFBFBF"/>
                    </a:solidFill>
                  </a:tcPr>
                </a:tc>
                <a:extLst>
                  <a:ext uri="{0D108BD9-81ED-4DB2-BD59-A6C34878D82A}">
                    <a16:rowId xmlns:a16="http://schemas.microsoft.com/office/drawing/2014/main" val="264026324"/>
                  </a:ext>
                </a:extLst>
              </a:tr>
              <a:tr h="326689">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Revlon/Walmart</a:t>
                      </a:r>
                    </a:p>
                  </a:txBody>
                  <a:tcPr marL="36000" marR="36000" marT="4763" marB="0" anchor="ctr">
                    <a:solidFill>
                      <a:srgbClr val="CBEAE7"/>
                    </a:solidFill>
                  </a:tcPr>
                </a:tc>
                <a:extLst>
                  <a:ext uri="{0D108BD9-81ED-4DB2-BD59-A6C34878D82A}">
                    <a16:rowId xmlns:a16="http://schemas.microsoft.com/office/drawing/2014/main" val="613793393"/>
                  </a:ext>
                </a:extLst>
              </a:tr>
              <a:tr h="326689">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Clio/Walmart</a:t>
                      </a:r>
                    </a:p>
                  </a:txBody>
                  <a:tcPr marL="36000" marR="36000" marT="4763" marB="0" anchor="ctr">
                    <a:solidFill>
                      <a:srgbClr val="CBEAE7"/>
                    </a:solidFill>
                  </a:tcPr>
                </a:tc>
                <a:extLst>
                  <a:ext uri="{0D108BD9-81ED-4DB2-BD59-A6C34878D82A}">
                    <a16:rowId xmlns:a16="http://schemas.microsoft.com/office/drawing/2014/main" val="4246246309"/>
                  </a:ext>
                </a:extLst>
              </a:tr>
              <a:tr h="326689">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Evribeauty/Walmart</a:t>
                      </a:r>
                    </a:p>
                  </a:txBody>
                  <a:tcPr marL="36000" marR="36000" marT="4763" marB="0" anchor="ctr">
                    <a:solidFill>
                      <a:srgbClr val="F2F2F2"/>
                    </a:solidFill>
                  </a:tcPr>
                </a:tc>
                <a:extLst>
                  <a:ext uri="{0D108BD9-81ED-4DB2-BD59-A6C34878D82A}">
                    <a16:rowId xmlns:a16="http://schemas.microsoft.com/office/drawing/2014/main" val="418503086"/>
                  </a:ext>
                </a:extLst>
              </a:tr>
              <a:tr h="326689">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Rem Pl/Walmart</a:t>
                      </a:r>
                    </a:p>
                  </a:txBody>
                  <a:tcPr marL="36000" marR="36000" marT="4763" marB="0" anchor="ctr">
                    <a:solidFill>
                      <a:srgbClr val="CBEAE7"/>
                    </a:solidFill>
                  </a:tcPr>
                </a:tc>
                <a:extLst>
                  <a:ext uri="{0D108BD9-81ED-4DB2-BD59-A6C34878D82A}">
                    <a16:rowId xmlns:a16="http://schemas.microsoft.com/office/drawing/2014/main" val="381854689"/>
                  </a:ext>
                </a:extLst>
              </a:tr>
              <a:tr h="326689">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62768916"/>
                  </a:ext>
                </a:extLst>
              </a:tr>
              <a:tr h="326689">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CVS Corp</a:t>
                      </a:r>
                    </a:p>
                  </a:txBody>
                  <a:tcPr marL="36000" marR="36000" marT="4763" marB="0" anchor="ctr">
                    <a:solidFill>
                      <a:srgbClr val="FFBFBF"/>
                    </a:solidFill>
                  </a:tcPr>
                </a:tc>
                <a:extLst>
                  <a:ext uri="{0D108BD9-81ED-4DB2-BD59-A6C34878D82A}">
                    <a16:rowId xmlns:a16="http://schemas.microsoft.com/office/drawing/2014/main" val="1139766948"/>
                  </a:ext>
                </a:extLst>
              </a:tr>
              <a:tr h="326689">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Revlon/CVS Corp</a:t>
                      </a:r>
                    </a:p>
                  </a:txBody>
                  <a:tcPr marL="36000" marR="36000" marT="4763" marB="0" anchor="ctr">
                    <a:solidFill>
                      <a:srgbClr val="FFBFBF"/>
                    </a:solidFill>
                  </a:tcPr>
                </a:tc>
                <a:extLst>
                  <a:ext uri="{0D108BD9-81ED-4DB2-BD59-A6C34878D82A}">
                    <a16:rowId xmlns:a16="http://schemas.microsoft.com/office/drawing/2014/main" val="1687090376"/>
                  </a:ext>
                </a:extLst>
              </a:tr>
              <a:tr h="326689">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1182192680"/>
                  </a:ext>
                </a:extLst>
              </a:tr>
              <a:tr h="326689">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Clio/CVS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42192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4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4"/>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23916">
                <a:tc>
                  <a:txBody>
                    <a:bodyPr/>
                    <a:lstStyle/>
                    <a:p>
                      <a:pPr algn="ctr">
                        <a:defRPr sz="600">
                          <a:latin typeface="Nexa Book (Body)"/>
                        </a:defRPr>
                      </a:pPr>
                      <a:r>
                        <a:rPr sz="600">
                          <a:latin typeface="Nexa Book (Body)"/>
                        </a:rPr>
                        <a:t>1</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2F2F2"/>
                    </a:solidFill>
                  </a:tcPr>
                </a:tc>
                <a:extLst>
                  <a:ext uri="{0D108BD9-81ED-4DB2-BD59-A6C34878D82A}">
                    <a16:rowId xmlns:a16="http://schemas.microsoft.com/office/drawing/2014/main" val="1034687643"/>
                  </a:ext>
                </a:extLst>
              </a:tr>
              <a:tr h="123916">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CVS</a:t>
                      </a:r>
                    </a:p>
                  </a:txBody>
                  <a:tcPr marL="36000" marR="36000" marT="4763" marB="0" anchor="ctr">
                    <a:solidFill>
                      <a:srgbClr val="CBEAE7"/>
                    </a:solidFill>
                  </a:tcPr>
                </a:tc>
                <a:extLst>
                  <a:ext uri="{0D108BD9-81ED-4DB2-BD59-A6C34878D82A}">
                    <a16:rowId xmlns:a16="http://schemas.microsoft.com/office/drawing/2014/main" val="3584977323"/>
                  </a:ext>
                </a:extLst>
              </a:tr>
              <a:tr h="12391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2F2F2"/>
                    </a:solidFill>
                  </a:tcPr>
                </a:tc>
                <a:extLst>
                  <a:ext uri="{0D108BD9-81ED-4DB2-BD59-A6C34878D82A}">
                    <a16:rowId xmlns:a16="http://schemas.microsoft.com/office/drawing/2014/main" val="3168886064"/>
                  </a:ext>
                </a:extLst>
              </a:tr>
              <a:tr h="12391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1229178230"/>
                  </a:ext>
                </a:extLst>
              </a:tr>
              <a:tr h="123916">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2F2F2"/>
                    </a:solidFill>
                  </a:tcPr>
                </a:tc>
                <a:extLst>
                  <a:ext uri="{0D108BD9-81ED-4DB2-BD59-A6C34878D82A}">
                    <a16:rowId xmlns:a16="http://schemas.microsoft.com/office/drawing/2014/main" val="3733705932"/>
                  </a:ext>
                </a:extLst>
              </a:tr>
              <a:tr h="12391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CBEAE7"/>
                    </a:solidFill>
                  </a:tcPr>
                </a:tc>
                <a:extLst>
                  <a:ext uri="{0D108BD9-81ED-4DB2-BD59-A6C34878D82A}">
                    <a16:rowId xmlns:a16="http://schemas.microsoft.com/office/drawing/2014/main" val="2982336602"/>
                  </a:ext>
                </a:extLst>
              </a:tr>
              <a:tr h="12391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FFBFBF"/>
                    </a:solidFill>
                  </a:tcPr>
                </a:tc>
                <a:extLst>
                  <a:ext uri="{0D108BD9-81ED-4DB2-BD59-A6C34878D82A}">
                    <a16:rowId xmlns:a16="http://schemas.microsoft.com/office/drawing/2014/main" val="2145429941"/>
                  </a:ext>
                </a:extLst>
              </a:tr>
              <a:tr h="12391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CBEAE7"/>
                    </a:solidFill>
                  </a:tcPr>
                </a:tc>
                <a:extLst>
                  <a:ext uri="{0D108BD9-81ED-4DB2-BD59-A6C34878D82A}">
                    <a16:rowId xmlns:a16="http://schemas.microsoft.com/office/drawing/2014/main" val="1928241220"/>
                  </a:ext>
                </a:extLst>
              </a:tr>
              <a:tr h="123916">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2F2F2"/>
                    </a:solidFill>
                  </a:tcPr>
                </a:tc>
                <a:extLst>
                  <a:ext uri="{0D108BD9-81ED-4DB2-BD59-A6C34878D82A}">
                    <a16:rowId xmlns:a16="http://schemas.microsoft.com/office/drawing/2014/main" val="1169718394"/>
                  </a:ext>
                </a:extLst>
              </a:tr>
              <a:tr h="12391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1278576935"/>
                  </a:ext>
                </a:extLst>
              </a:tr>
              <a:tr h="12391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Bic Easyrinse/Walmart Sc Corp</a:t>
                      </a:r>
                    </a:p>
                  </a:txBody>
                  <a:tcPr marL="36000" marR="36000" marT="4763" marB="0" anchor="ctr">
                    <a:solidFill>
                      <a:srgbClr val="FFBFBF"/>
                    </a:solidFill>
                  </a:tcPr>
                </a:tc>
                <a:extLst>
                  <a:ext uri="{0D108BD9-81ED-4DB2-BD59-A6C34878D82A}">
                    <a16:rowId xmlns:a16="http://schemas.microsoft.com/office/drawing/2014/main" val="3699202022"/>
                  </a:ext>
                </a:extLst>
              </a:tr>
              <a:tr h="12391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Quattro/Amazon 1P</a:t>
                      </a:r>
                    </a:p>
                  </a:txBody>
                  <a:tcPr marL="36000" marR="36000" marT="4763" marB="0" anchor="ctr">
                    <a:solidFill>
                      <a:srgbClr val="FFBFBF"/>
                    </a:solidFill>
                  </a:tcPr>
                </a:tc>
                <a:extLst>
                  <a:ext uri="{0D108BD9-81ED-4DB2-BD59-A6C34878D82A}">
                    <a16:rowId xmlns:a16="http://schemas.microsoft.com/office/drawing/2014/main" val="2267262216"/>
                  </a:ext>
                </a:extLst>
              </a:tr>
              <a:tr h="12391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Quattro/CVS</a:t>
                      </a:r>
                    </a:p>
                  </a:txBody>
                  <a:tcPr marL="36000" marR="36000" marT="4763" marB="0" anchor="ctr">
                    <a:solidFill>
                      <a:srgbClr val="FFBFBF"/>
                    </a:solidFill>
                  </a:tcPr>
                </a:tc>
                <a:extLst>
                  <a:ext uri="{0D108BD9-81ED-4DB2-BD59-A6C34878D82A}">
                    <a16:rowId xmlns:a16="http://schemas.microsoft.com/office/drawing/2014/main" val="3716470959"/>
                  </a:ext>
                </a:extLst>
              </a:tr>
              <a:tr h="12391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FBFBF"/>
                    </a:solidFill>
                  </a:tcPr>
                </a:tc>
                <a:extLst>
                  <a:ext uri="{0D108BD9-81ED-4DB2-BD59-A6C34878D82A}">
                    <a16:rowId xmlns:a16="http://schemas.microsoft.com/office/drawing/2014/main" val="2860330723"/>
                  </a:ext>
                </a:extLst>
              </a:tr>
              <a:tr h="12391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Quattro/Amazon 3P</a:t>
                      </a:r>
                    </a:p>
                  </a:txBody>
                  <a:tcPr marL="36000" marR="36000" marT="4763" marB="0" anchor="ctr">
                    <a:solidFill>
                      <a:srgbClr val="CBEAE7"/>
                    </a:solidFill>
                  </a:tcPr>
                </a:tc>
                <a:extLst>
                  <a:ext uri="{0D108BD9-81ED-4DB2-BD59-A6C34878D82A}">
                    <a16:rowId xmlns:a16="http://schemas.microsoft.com/office/drawing/2014/main" val="98934626"/>
                  </a:ext>
                </a:extLst>
              </a:tr>
              <a:tr h="123916">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Nm Corp</a:t>
                      </a:r>
                    </a:p>
                  </a:txBody>
                  <a:tcPr marL="36000" marR="36000" marT="4763" marB="0" anchor="ctr">
                    <a:solidFill>
                      <a:srgbClr val="F2F2F2"/>
                    </a:solidFill>
                  </a:tcPr>
                </a:tc>
                <a:extLst>
                  <a:ext uri="{0D108BD9-81ED-4DB2-BD59-A6C34878D82A}">
                    <a16:rowId xmlns:a16="http://schemas.microsoft.com/office/drawing/2014/main" val="3049926520"/>
                  </a:ext>
                </a:extLst>
              </a:tr>
              <a:tr h="123916">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Div1 Corp</a:t>
                      </a:r>
                    </a:p>
                  </a:txBody>
                  <a:tcPr marL="36000" marR="36000" marT="4763" marB="0" anchor="ctr">
                    <a:solidFill>
                      <a:srgbClr val="F2F2F2"/>
                    </a:solidFill>
                  </a:tcPr>
                </a:tc>
                <a:extLst>
                  <a:ext uri="{0D108BD9-81ED-4DB2-BD59-A6C34878D82A}">
                    <a16:rowId xmlns:a16="http://schemas.microsoft.com/office/drawing/2014/main" val="3518559538"/>
                  </a:ext>
                </a:extLst>
              </a:tr>
              <a:tr h="12391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CBEAE7"/>
                    </a:solidFill>
                  </a:tcPr>
                </a:tc>
                <a:extLst>
                  <a:ext uri="{0D108BD9-81ED-4DB2-BD59-A6C34878D82A}">
                    <a16:rowId xmlns:a16="http://schemas.microsoft.com/office/drawing/2014/main" val="3886752891"/>
                  </a:ext>
                </a:extLst>
              </a:tr>
              <a:tr h="12391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FFBFBF"/>
                    </a:solidFill>
                  </a:tcPr>
                </a:tc>
                <a:extLst>
                  <a:ext uri="{0D108BD9-81ED-4DB2-BD59-A6C34878D82A}">
                    <a16:rowId xmlns:a16="http://schemas.microsoft.com/office/drawing/2014/main" val="3477306869"/>
                  </a:ext>
                </a:extLst>
              </a:tr>
              <a:tr h="12391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2F2F2"/>
                    </a:solidFill>
                  </a:tcPr>
                </a:tc>
                <a:extLst>
                  <a:ext uri="{0D108BD9-81ED-4DB2-BD59-A6C34878D82A}">
                    <a16:rowId xmlns:a16="http://schemas.microsoft.com/office/drawing/2014/main" val="264026324"/>
                  </a:ext>
                </a:extLst>
              </a:tr>
              <a:tr h="12391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Nm Corp</a:t>
                      </a:r>
                    </a:p>
                  </a:txBody>
                  <a:tcPr marL="36000" marR="36000" marT="4763" marB="0" anchor="ctr">
                    <a:solidFill>
                      <a:srgbClr val="CBEAE7"/>
                    </a:solidFill>
                  </a:tcPr>
                </a:tc>
                <a:extLst>
                  <a:ext uri="{0D108BD9-81ED-4DB2-BD59-A6C34878D82A}">
                    <a16:rowId xmlns:a16="http://schemas.microsoft.com/office/drawing/2014/main" val="613793393"/>
                  </a:ext>
                </a:extLst>
              </a:tr>
              <a:tr h="123916">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Nm Corp</a:t>
                      </a:r>
                    </a:p>
                  </a:txBody>
                  <a:tcPr marL="36000" marR="36000" marT="4763" marB="0" anchor="ctr">
                    <a:solidFill>
                      <a:srgbClr val="F2F2F2"/>
                    </a:solidFill>
                  </a:tcPr>
                </a:tc>
                <a:extLst>
                  <a:ext uri="{0D108BD9-81ED-4DB2-BD59-A6C34878D82A}">
                    <a16:rowId xmlns:a16="http://schemas.microsoft.com/office/drawing/2014/main" val="4246246309"/>
                  </a:ext>
                </a:extLst>
              </a:tr>
              <a:tr h="12391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Bic Easyrinse/Walmart Div1 Corp</a:t>
                      </a:r>
                    </a:p>
                  </a:txBody>
                  <a:tcPr marL="36000" marR="36000" marT="4763" marB="0" anchor="ctr">
                    <a:solidFill>
                      <a:srgbClr val="FFBFBF"/>
                    </a:solidFill>
                  </a:tcPr>
                </a:tc>
                <a:extLst>
                  <a:ext uri="{0D108BD9-81ED-4DB2-BD59-A6C34878D82A}">
                    <a16:rowId xmlns:a16="http://schemas.microsoft.com/office/drawing/2014/main" val="418503086"/>
                  </a:ext>
                </a:extLst>
              </a:tr>
              <a:tr h="12391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CBEAE7"/>
                    </a:solidFill>
                  </a:tcPr>
                </a:tc>
                <a:extLst>
                  <a:ext uri="{0D108BD9-81ED-4DB2-BD59-A6C34878D82A}">
                    <a16:rowId xmlns:a16="http://schemas.microsoft.com/office/drawing/2014/main" val="381854689"/>
                  </a:ext>
                </a:extLst>
              </a:tr>
              <a:tr h="12391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c Easyrinse/Amazon 1P</a:t>
                      </a:r>
                    </a:p>
                  </a:txBody>
                  <a:tcPr marL="36000" marR="36000" marT="4763" marB="0" anchor="ctr">
                    <a:solidFill>
                      <a:srgbClr val="CBEAE7"/>
                    </a:solidFill>
                  </a:tcPr>
                </a:tc>
                <a:extLst>
                  <a:ext uri="{0D108BD9-81ED-4DB2-BD59-A6C34878D82A}">
                    <a16:rowId xmlns:a16="http://schemas.microsoft.com/office/drawing/2014/main" val="362768916"/>
                  </a:ext>
                </a:extLst>
              </a:tr>
              <a:tr h="12391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39766948"/>
                  </a:ext>
                </a:extLst>
              </a:tr>
              <a:tr h="12391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Bic Easyrinse/Walmart Nm Corp</a:t>
                      </a:r>
                    </a:p>
                  </a:txBody>
                  <a:tcPr marL="36000" marR="36000" marT="4763" marB="0" anchor="ctr">
                    <a:solidFill>
                      <a:srgbClr val="FFBFBF"/>
                    </a:solidFill>
                  </a:tcPr>
                </a:tc>
                <a:extLst>
                  <a:ext uri="{0D108BD9-81ED-4DB2-BD59-A6C34878D82A}">
                    <a16:rowId xmlns:a16="http://schemas.microsoft.com/office/drawing/2014/main" val="1687090376"/>
                  </a:ext>
                </a:extLst>
              </a:tr>
              <a:tr h="123916">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Amazon 3P</a:t>
                      </a:r>
                    </a:p>
                  </a:txBody>
                  <a:tcPr marL="36000" marR="36000" marT="4763" marB="0" anchor="ctr">
                    <a:solidFill>
                      <a:srgbClr val="CBEAE7"/>
                    </a:solidFill>
                  </a:tcPr>
                </a:tc>
                <a:extLst>
                  <a:ext uri="{0D108BD9-81ED-4DB2-BD59-A6C34878D82A}">
                    <a16:rowId xmlns:a16="http://schemas.microsoft.com/office/drawing/2014/main" val="1182192680"/>
                  </a:ext>
                </a:extLst>
              </a:tr>
              <a:tr h="12391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Amazon 1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41880760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6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898395">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Amazon 3P</a:t>
                      </a:r>
                    </a:p>
                  </a:txBody>
                  <a:tcPr marL="36000" marR="36000" marT="4763" marB="0" anchor="ctr">
                    <a:solidFill>
                      <a:srgbClr val="CBEAE7"/>
                    </a:solidFill>
                  </a:tcPr>
                </a:tc>
                <a:extLst>
                  <a:ext uri="{0D108BD9-81ED-4DB2-BD59-A6C34878D82A}">
                    <a16:rowId xmlns:a16="http://schemas.microsoft.com/office/drawing/2014/main" val="1139766948"/>
                  </a:ext>
                </a:extLst>
              </a:tr>
              <a:tr h="898395">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Rem Pl/Amazon 3P</a:t>
                      </a:r>
                    </a:p>
                  </a:txBody>
                  <a:tcPr marL="36000" marR="36000" marT="4763" marB="0" anchor="ctr">
                    <a:solidFill>
                      <a:srgbClr val="FFBFBF"/>
                    </a:solidFill>
                  </a:tcPr>
                </a:tc>
                <a:extLst>
                  <a:ext uri="{0D108BD9-81ED-4DB2-BD59-A6C34878D82A}">
                    <a16:rowId xmlns:a16="http://schemas.microsoft.com/office/drawing/2014/main" val="1687090376"/>
                  </a:ext>
                </a:extLst>
              </a:tr>
              <a:tr h="898395">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Walmart Sc Corp</a:t>
                      </a:r>
                    </a:p>
                  </a:txBody>
                  <a:tcPr marL="36000" marR="36000" marT="4763" marB="0" anchor="ctr">
                    <a:solidFill>
                      <a:srgbClr val="F2F2F2"/>
                    </a:solidFill>
                  </a:tcPr>
                </a:tc>
                <a:extLst>
                  <a:ext uri="{0D108BD9-81ED-4DB2-BD59-A6C34878D82A}">
                    <a16:rowId xmlns:a16="http://schemas.microsoft.com/office/drawing/2014/main" val="1182192680"/>
                  </a:ext>
                </a:extLst>
              </a:tr>
              <a:tr h="898395">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Walmart Div1 Corp</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38520144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6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Amazon</a:t>
                      </a:r>
                    </a:p>
                  </a:txBody>
                  <a:tcPr marL="36000" marR="36000" marT="4763" marB="0" anchor="ctr">
                    <a:solidFill>
                      <a:srgbClr val="CBEAE7"/>
                    </a:solidFill>
                  </a:tcPr>
                </a:tc>
                <a:extLst>
                  <a:ext uri="{0D108BD9-81ED-4DB2-BD59-A6C34878D82A}">
                    <a16:rowId xmlns:a16="http://schemas.microsoft.com/office/drawing/2014/main" val="1687090376"/>
                  </a:ext>
                </a:extLst>
              </a:tr>
              <a:tr h="119786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Rem Pl/Amazon</a:t>
                      </a:r>
                    </a:p>
                  </a:txBody>
                  <a:tcPr marL="36000" marR="36000" marT="4763" marB="0" anchor="ctr">
                    <a:solidFill>
                      <a:srgbClr val="FFBFBF"/>
                    </a:solidFill>
                  </a:tcPr>
                </a:tc>
                <a:extLst>
                  <a:ext uri="{0D108BD9-81ED-4DB2-BD59-A6C34878D82A}">
                    <a16:rowId xmlns:a16="http://schemas.microsoft.com/office/drawing/2014/main" val="1182192680"/>
                  </a:ext>
                </a:extLst>
              </a:tr>
              <a:tr h="119786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Walmart</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35390948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Normal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63344">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1928241220"/>
                  </a:ext>
                </a:extLst>
              </a:tr>
              <a:tr h="163344">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FFBFBF"/>
                    </a:solidFill>
                  </a:tcPr>
                </a:tc>
                <a:extLst>
                  <a:ext uri="{0D108BD9-81ED-4DB2-BD59-A6C34878D82A}">
                    <a16:rowId xmlns:a16="http://schemas.microsoft.com/office/drawing/2014/main" val="1169718394"/>
                  </a:ext>
                </a:extLst>
              </a:tr>
              <a:tr h="163344">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a:t>
                      </a:r>
                    </a:p>
                  </a:txBody>
                  <a:tcPr marL="36000" marR="36000" marT="4763" marB="0" anchor="ctr">
                    <a:solidFill>
                      <a:srgbClr val="CBEAE7"/>
                    </a:solidFill>
                  </a:tcPr>
                </a:tc>
                <a:extLst>
                  <a:ext uri="{0D108BD9-81ED-4DB2-BD59-A6C34878D82A}">
                    <a16:rowId xmlns:a16="http://schemas.microsoft.com/office/drawing/2014/main" val="1278576935"/>
                  </a:ext>
                </a:extLst>
              </a:tr>
              <a:tr h="163344">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CBEAE7"/>
                    </a:solidFill>
                  </a:tcPr>
                </a:tc>
                <a:extLst>
                  <a:ext uri="{0D108BD9-81ED-4DB2-BD59-A6C34878D82A}">
                    <a16:rowId xmlns:a16="http://schemas.microsoft.com/office/drawing/2014/main" val="3699202022"/>
                  </a:ext>
                </a:extLst>
              </a:tr>
              <a:tr h="163344">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a:t>
                      </a:r>
                    </a:p>
                  </a:txBody>
                  <a:tcPr marL="36000" marR="36000" marT="4763" marB="0" anchor="ctr">
                    <a:solidFill>
                      <a:srgbClr val="FFBFBF"/>
                    </a:solidFill>
                  </a:tcPr>
                </a:tc>
                <a:extLst>
                  <a:ext uri="{0D108BD9-81ED-4DB2-BD59-A6C34878D82A}">
                    <a16:rowId xmlns:a16="http://schemas.microsoft.com/office/drawing/2014/main" val="2267262216"/>
                  </a:ext>
                </a:extLst>
              </a:tr>
              <a:tr h="163344">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3716470959"/>
                  </a:ext>
                </a:extLst>
              </a:tr>
              <a:tr h="163344">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a:t>
                      </a:r>
                    </a:p>
                  </a:txBody>
                  <a:tcPr marL="36000" marR="36000" marT="4763" marB="0" anchor="ctr">
                    <a:solidFill>
                      <a:srgbClr val="FFBFBF"/>
                    </a:solidFill>
                  </a:tcPr>
                </a:tc>
                <a:extLst>
                  <a:ext uri="{0D108BD9-81ED-4DB2-BD59-A6C34878D82A}">
                    <a16:rowId xmlns:a16="http://schemas.microsoft.com/office/drawing/2014/main" val="2860330723"/>
                  </a:ext>
                </a:extLst>
              </a:tr>
              <a:tr h="163344">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a:t>
                      </a:r>
                    </a:p>
                  </a:txBody>
                  <a:tcPr marL="36000" marR="36000" marT="4763" marB="0" anchor="ctr">
                    <a:solidFill>
                      <a:srgbClr val="CBEAE7"/>
                    </a:solidFill>
                  </a:tcPr>
                </a:tc>
                <a:extLst>
                  <a:ext uri="{0D108BD9-81ED-4DB2-BD59-A6C34878D82A}">
                    <a16:rowId xmlns:a16="http://schemas.microsoft.com/office/drawing/2014/main" val="98934626"/>
                  </a:ext>
                </a:extLst>
              </a:tr>
              <a:tr h="163344">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3049926520"/>
                  </a:ext>
                </a:extLst>
              </a:tr>
              <a:tr h="163344">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3518559538"/>
                  </a:ext>
                </a:extLst>
              </a:tr>
              <a:tr h="163344">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F2F2F2"/>
                    </a:solidFill>
                  </a:tcPr>
                </a:tc>
                <a:extLst>
                  <a:ext uri="{0D108BD9-81ED-4DB2-BD59-A6C34878D82A}">
                    <a16:rowId xmlns:a16="http://schemas.microsoft.com/office/drawing/2014/main" val="3886752891"/>
                  </a:ext>
                </a:extLst>
              </a:tr>
              <a:tr h="163344">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3477306869"/>
                  </a:ext>
                </a:extLst>
              </a:tr>
              <a:tr h="163344">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264026324"/>
                  </a:ext>
                </a:extLst>
              </a:tr>
              <a:tr h="163344">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F2F2F2"/>
                    </a:solidFill>
                  </a:tcPr>
                </a:tc>
                <a:extLst>
                  <a:ext uri="{0D108BD9-81ED-4DB2-BD59-A6C34878D82A}">
                    <a16:rowId xmlns:a16="http://schemas.microsoft.com/office/drawing/2014/main" val="613793393"/>
                  </a:ext>
                </a:extLst>
              </a:tr>
              <a:tr h="163344">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4246246309"/>
                  </a:ext>
                </a:extLst>
              </a:tr>
              <a:tr h="163344">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a:t>
                      </a:r>
                    </a:p>
                  </a:txBody>
                  <a:tcPr marL="36000" marR="36000" marT="4763" marB="0" anchor="ctr">
                    <a:solidFill>
                      <a:srgbClr val="FFBFBF"/>
                    </a:solidFill>
                  </a:tcPr>
                </a:tc>
                <a:extLst>
                  <a:ext uri="{0D108BD9-81ED-4DB2-BD59-A6C34878D82A}">
                    <a16:rowId xmlns:a16="http://schemas.microsoft.com/office/drawing/2014/main" val="418503086"/>
                  </a:ext>
                </a:extLst>
              </a:tr>
              <a:tr h="163344">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81854689"/>
                  </a:ext>
                </a:extLst>
              </a:tr>
              <a:tr h="163344">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62768916"/>
                  </a:ext>
                </a:extLst>
              </a:tr>
              <a:tr h="163344">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Bic Silky Touch/Amazon</a:t>
                      </a:r>
                    </a:p>
                  </a:txBody>
                  <a:tcPr marL="36000" marR="36000" marT="4763" marB="0" anchor="ctr">
                    <a:solidFill>
                      <a:srgbClr val="F2F2F2"/>
                    </a:solidFill>
                  </a:tcPr>
                </a:tc>
                <a:extLst>
                  <a:ext uri="{0D108BD9-81ED-4DB2-BD59-A6C34878D82A}">
                    <a16:rowId xmlns:a16="http://schemas.microsoft.com/office/drawing/2014/main" val="1139766948"/>
                  </a:ext>
                </a:extLst>
              </a:tr>
              <a:tr h="163344">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FFBFBF"/>
                    </a:solidFill>
                  </a:tcPr>
                </a:tc>
                <a:extLst>
                  <a:ext uri="{0D108BD9-81ED-4DB2-BD59-A6C34878D82A}">
                    <a16:rowId xmlns:a16="http://schemas.microsoft.com/office/drawing/2014/main" val="1687090376"/>
                  </a:ext>
                </a:extLst>
              </a:tr>
              <a:tr h="163344">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182192680"/>
                  </a:ext>
                </a:extLst>
              </a:tr>
              <a:tr h="163344">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16738248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ensitive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572">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98934626"/>
                  </a:ext>
                </a:extLst>
              </a:tr>
              <a:tr h="239572">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3049926520"/>
                  </a:ext>
                </a:extLst>
              </a:tr>
              <a:tr h="239572">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F2F2F2"/>
                    </a:solidFill>
                  </a:tcPr>
                </a:tc>
                <a:extLst>
                  <a:ext uri="{0D108BD9-81ED-4DB2-BD59-A6C34878D82A}">
                    <a16:rowId xmlns:a16="http://schemas.microsoft.com/office/drawing/2014/main" val="3518559538"/>
                  </a:ext>
                </a:extLst>
              </a:tr>
              <a:tr h="239572">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886752891"/>
                  </a:ext>
                </a:extLst>
              </a:tr>
              <a:tr h="239572">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CVS Corp</a:t>
                      </a:r>
                    </a:p>
                  </a:txBody>
                  <a:tcPr marL="36000" marR="36000" marT="4763" marB="0" anchor="ctr">
                    <a:solidFill>
                      <a:srgbClr val="CBEAE7"/>
                    </a:solidFill>
                  </a:tcPr>
                </a:tc>
                <a:extLst>
                  <a:ext uri="{0D108BD9-81ED-4DB2-BD59-A6C34878D82A}">
                    <a16:rowId xmlns:a16="http://schemas.microsoft.com/office/drawing/2014/main" val="3477306869"/>
                  </a:ext>
                </a:extLst>
              </a:tr>
              <a:tr h="239572">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Amazon</a:t>
                      </a:r>
                    </a:p>
                  </a:txBody>
                  <a:tcPr marL="36000" marR="36000" marT="4763" marB="0" anchor="ctr">
                    <a:solidFill>
                      <a:srgbClr val="CBEAE7"/>
                    </a:solidFill>
                  </a:tcPr>
                </a:tc>
                <a:extLst>
                  <a:ext uri="{0D108BD9-81ED-4DB2-BD59-A6C34878D82A}">
                    <a16:rowId xmlns:a16="http://schemas.microsoft.com/office/drawing/2014/main" val="264026324"/>
                  </a:ext>
                </a:extLst>
              </a:tr>
              <a:tr h="239572">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Hydro Silk/Amazon</a:t>
                      </a:r>
                    </a:p>
                  </a:txBody>
                  <a:tcPr marL="36000" marR="36000" marT="4763" marB="0" anchor="ctr">
                    <a:solidFill>
                      <a:srgbClr val="F2F2F2"/>
                    </a:solidFill>
                  </a:tcPr>
                </a:tc>
                <a:extLst>
                  <a:ext uri="{0D108BD9-81ED-4DB2-BD59-A6C34878D82A}">
                    <a16:rowId xmlns:a16="http://schemas.microsoft.com/office/drawing/2014/main" val="613793393"/>
                  </a:ext>
                </a:extLst>
              </a:tr>
              <a:tr h="239572">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Skintimate/Walmart</a:t>
                      </a:r>
                    </a:p>
                  </a:txBody>
                  <a:tcPr marL="36000" marR="36000" marT="4763" marB="0" anchor="ctr">
                    <a:solidFill>
                      <a:srgbClr val="CBEAE7"/>
                    </a:solidFill>
                  </a:tcPr>
                </a:tc>
                <a:extLst>
                  <a:ext uri="{0D108BD9-81ED-4DB2-BD59-A6C34878D82A}">
                    <a16:rowId xmlns:a16="http://schemas.microsoft.com/office/drawing/2014/main" val="4246246309"/>
                  </a:ext>
                </a:extLst>
              </a:tr>
              <a:tr h="239572">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418503086"/>
                  </a:ext>
                </a:extLst>
              </a:tr>
              <a:tr h="239572">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81854689"/>
                  </a:ext>
                </a:extLst>
              </a:tr>
              <a:tr h="239572">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CBEAE7"/>
                    </a:solidFill>
                  </a:tcPr>
                </a:tc>
                <a:extLst>
                  <a:ext uri="{0D108BD9-81ED-4DB2-BD59-A6C34878D82A}">
                    <a16:rowId xmlns:a16="http://schemas.microsoft.com/office/drawing/2014/main" val="362768916"/>
                  </a:ext>
                </a:extLst>
              </a:tr>
              <a:tr h="239572">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139766948"/>
                  </a:ext>
                </a:extLst>
              </a:tr>
              <a:tr h="239572">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1687090376"/>
                  </a:ext>
                </a:extLst>
              </a:tr>
              <a:tr h="239572">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Billie/Amazon</a:t>
                      </a:r>
                    </a:p>
                  </a:txBody>
                  <a:tcPr marL="36000" marR="36000" marT="4763" marB="0" anchor="ctr">
                    <a:solidFill>
                      <a:srgbClr val="F2F2F2"/>
                    </a:solidFill>
                  </a:tcPr>
                </a:tc>
                <a:extLst>
                  <a:ext uri="{0D108BD9-81ED-4DB2-BD59-A6C34878D82A}">
                    <a16:rowId xmlns:a16="http://schemas.microsoft.com/office/drawing/2014/main" val="1182192680"/>
                  </a:ext>
                </a:extLst>
              </a:tr>
              <a:tr h="239572">
                <a:tc>
                  <a:txBody>
                    <a:bodyPr/>
                    <a:lstStyle/>
                    <a:p>
                      <a:pPr algn="ctr">
                        <a:defRPr sz="900">
                          <a:latin typeface="Nexa Book (Body)"/>
                        </a:defRPr>
                      </a:pPr>
                      <a:r>
                        <a:rPr sz="900">
                          <a:latin typeface="Nexa Book (Body)"/>
                        </a:rPr>
                        <a:t>15</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Amazo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9874634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Disposable/Disposable</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Disposable/Disposable</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Sc Corp/System/Refills</a:t>
                      </a:r>
                    </a:p>
                  </a:txBody>
                  <a:tcPr marL="36000" marR="36000" marT="4763" marB="0" anchor="ctr">
                    <a:solidFill>
                      <a:srgbClr val="F2F2F2"/>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Razors</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Disposable/Disposable</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Refills</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Disposable/Disposable</a:t>
                      </a:r>
                    </a:p>
                  </a:txBody>
                  <a:tcPr marL="36000" marR="36000" marT="4763" marB="0" anchor="ctr">
                    <a:solidFill>
                      <a:srgbClr val="CBEAE7"/>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1P/System/Razors</a:t>
                      </a:r>
                    </a:p>
                  </a:txBody>
                  <a:tcPr marL="36000" marR="36000" marT="4763" marB="0" anchor="ctr">
                    <a:solidFill>
                      <a:srgbClr val="F2F2F2"/>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Refills</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Billie/Walmart Sc Corp/System/Refills</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Razors</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System/Refills</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Disposable/Disposable</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System/Refills</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Disposable/Disposable</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System/Razors</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Disposable/Disposable</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Razors</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Sc Corp/System/Razors</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Sc Corp/Dermaplane/Dermaplane</a:t>
                      </a:r>
                    </a:p>
                  </a:txBody>
                  <a:tcPr marL="36000" marR="36000" marT="4763" marB="0" anchor="ctr">
                    <a:solidFill>
                      <a:srgbClr val="F2F2F2"/>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 Sc Corp/System/Razors</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Refills</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System/Razors</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Disposable/Disposable</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System/Refills</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Disposable/Disposable</a:t>
                      </a:r>
                    </a:p>
                  </a:txBody>
                  <a:tcPr marL="36000" marR="36000" marT="4763" marB="0" anchor="ctr">
                    <a:solidFill>
                      <a:srgbClr val="CBEAE7"/>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Disposable/Disposable</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System/Refills</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Disposable/Disposable</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Disposable/Disposabl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24120421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Walmart Sc Corp/Disposable/3 Blade</a:t>
                      </a:r>
                    </a:p>
                  </a:txBody>
                  <a:tcPr marL="36000" marR="36000" marT="4763" marB="0" anchor="ctr">
                    <a:solidFill>
                      <a:srgbClr val="FFBFBF"/>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5 Blade</a:t>
                      </a:r>
                    </a:p>
                  </a:txBody>
                  <a:tcPr marL="36000" marR="36000" marT="4763" marB="0" anchor="ctr">
                    <a:solidFill>
                      <a:srgbClr val="CBEAE7"/>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System/5 Blade</a:t>
                      </a:r>
                    </a:p>
                  </a:txBody>
                  <a:tcPr marL="36000" marR="36000" marT="4763" marB="0" anchor="ctr">
                    <a:solidFill>
                      <a:srgbClr val="FFBFBF"/>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System/4 Blade</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5 Blade</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System/5 Blade</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Disposable/3 Blade</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3 Blade</a:t>
                      </a:r>
                    </a:p>
                  </a:txBody>
                  <a:tcPr marL="36000" marR="36000" marT="4763" marB="0" anchor="ctr">
                    <a:solidFill>
                      <a:srgbClr val="CBEAE7"/>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3 Blade</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Disposable/5 Blade</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5 Blade</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Disposable/3 Blade</a:t>
                      </a:r>
                    </a:p>
                  </a:txBody>
                  <a:tcPr marL="36000" marR="36000" marT="4763" marB="0" anchor="ctr">
                    <a:solidFill>
                      <a:srgbClr val="CBEAE7"/>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Sc Corp/Disposable/5 Blade</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3 Blade</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Disposable/2 Blade</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5 Blade</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Disposable/3 Blade</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2 Blade</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Div1 Corp/Disposable/3 Blade</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System/4 Blade</a:t>
                      </a:r>
                    </a:p>
                  </a:txBody>
                  <a:tcPr marL="36000" marR="36000" marT="4763" marB="0" anchor="ctr">
                    <a:solidFill>
                      <a:srgbClr val="FFBFBF"/>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Sc Corp/System/5 Blade</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Sc Corp/Dermaplane/1 Blade</a:t>
                      </a:r>
                    </a:p>
                  </a:txBody>
                  <a:tcPr marL="36000" marR="36000" marT="4763" marB="0" anchor="ctr">
                    <a:solidFill>
                      <a:srgbClr val="F2F2F2"/>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Amazon 1P/System/5 Blade</a:t>
                      </a:r>
                    </a:p>
                  </a:txBody>
                  <a:tcPr marL="36000" marR="36000" marT="4763" marB="0" anchor="ctr">
                    <a:solidFill>
                      <a:srgbClr val="F2F2F2"/>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System/5 Blade</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System/5 Blade</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System/5 Blade</a:t>
                      </a:r>
                    </a:p>
                  </a:txBody>
                  <a:tcPr marL="36000" marR="36000" marT="4763" marB="0" anchor="ctr">
                    <a:solidFill>
                      <a:srgbClr val="CBEAE7"/>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Sc Corp/Disposable/4 Blade</a:t>
                      </a:r>
                    </a:p>
                  </a:txBody>
                  <a:tcPr marL="36000" marR="36000" marT="4763" marB="0" anchor="ctr">
                    <a:solidFill>
                      <a:srgbClr val="F2F2F2"/>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3P/System/4 Blade</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System/5 Blade</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Disposable/4 Blad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9855006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21776702"/>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Nationa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CBEAE7"/>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FBFBF"/>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Pbg Pl/Disposable</a:t>
                      </a:r>
                    </a:p>
                  </a:txBody>
                  <a:tcPr marL="36000" marR="36000" marT="4763" marB="0" anchor="ctr">
                    <a:solidFill>
                      <a:srgbClr val="CBEAE7"/>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Billie/System</a:t>
                      </a:r>
                    </a:p>
                  </a:txBody>
                  <a:tcPr marL="36000" marR="36000" marT="4763" marB="0" anchor="ctr">
                    <a:solidFill>
                      <a:srgbClr val="CBEAE7"/>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Flamingo/System</a:t>
                      </a:r>
                    </a:p>
                  </a:txBody>
                  <a:tcPr marL="36000" marR="36000" marT="4763" marB="0" anchor="ctr">
                    <a:solidFill>
                      <a:srgbClr val="F2F2F2"/>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FBFBF"/>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FFBFBF"/>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F2F2F2"/>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Billie/Dermaplane</a:t>
                      </a:r>
                    </a:p>
                  </a:txBody>
                  <a:tcPr marL="36000" marR="36000" marT="4763" marB="0" anchor="ctr">
                    <a:solidFill>
                      <a:srgbClr val="CBEAE7"/>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23951312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CV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99465">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FFBFBF"/>
                    </a:solidFill>
                  </a:tcPr>
                </a:tc>
                <a:extLst>
                  <a:ext uri="{0D108BD9-81ED-4DB2-BD59-A6C34878D82A}">
                    <a16:rowId xmlns:a16="http://schemas.microsoft.com/office/drawing/2014/main" val="3886752891"/>
                  </a:ext>
                </a:extLst>
              </a:tr>
              <a:tr h="299465">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477306869"/>
                  </a:ext>
                </a:extLst>
              </a:tr>
              <a:tr h="299465">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264026324"/>
                  </a:ext>
                </a:extLst>
              </a:tr>
              <a:tr h="299465">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Billie/System</a:t>
                      </a:r>
                    </a:p>
                  </a:txBody>
                  <a:tcPr marL="36000" marR="36000" marT="4763" marB="0" anchor="ctr">
                    <a:solidFill>
                      <a:srgbClr val="CBEAE7"/>
                    </a:solidFill>
                  </a:tcPr>
                </a:tc>
                <a:extLst>
                  <a:ext uri="{0D108BD9-81ED-4DB2-BD59-A6C34878D82A}">
                    <a16:rowId xmlns:a16="http://schemas.microsoft.com/office/drawing/2014/main" val="613793393"/>
                  </a:ext>
                </a:extLst>
              </a:tr>
              <a:tr h="299465">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Flamingo/System</a:t>
                      </a:r>
                    </a:p>
                  </a:txBody>
                  <a:tcPr marL="36000" marR="36000" marT="4763" marB="0" anchor="ctr">
                    <a:solidFill>
                      <a:srgbClr val="CBEAE7"/>
                    </a:solidFill>
                  </a:tcPr>
                </a:tc>
                <a:extLst>
                  <a:ext uri="{0D108BD9-81ED-4DB2-BD59-A6C34878D82A}">
                    <a16:rowId xmlns:a16="http://schemas.microsoft.com/office/drawing/2014/main" val="4246246309"/>
                  </a:ext>
                </a:extLst>
              </a:tr>
              <a:tr h="299465">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418503086"/>
                  </a:ext>
                </a:extLst>
              </a:tr>
              <a:tr h="299465">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381854689"/>
                  </a:ext>
                </a:extLst>
              </a:tr>
              <a:tr h="299465">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FBFBF"/>
                    </a:solidFill>
                  </a:tcPr>
                </a:tc>
                <a:extLst>
                  <a:ext uri="{0D108BD9-81ED-4DB2-BD59-A6C34878D82A}">
                    <a16:rowId xmlns:a16="http://schemas.microsoft.com/office/drawing/2014/main" val="362768916"/>
                  </a:ext>
                </a:extLst>
              </a:tr>
              <a:tr h="299465">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CBEAE7"/>
                    </a:solidFill>
                  </a:tcPr>
                </a:tc>
                <a:extLst>
                  <a:ext uri="{0D108BD9-81ED-4DB2-BD59-A6C34878D82A}">
                    <a16:rowId xmlns:a16="http://schemas.microsoft.com/office/drawing/2014/main" val="1139766948"/>
                  </a:ext>
                </a:extLst>
              </a:tr>
              <a:tr h="299465">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687090376"/>
                  </a:ext>
                </a:extLst>
              </a:tr>
              <a:tr h="299465">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Billie/Dermaplane</a:t>
                      </a:r>
                    </a:p>
                  </a:txBody>
                  <a:tcPr marL="36000" marR="36000" marT="4763" marB="0" anchor="ctr">
                    <a:solidFill>
                      <a:srgbClr val="CBEAE7"/>
                    </a:solidFill>
                  </a:tcPr>
                </a:tc>
                <a:extLst>
                  <a:ext uri="{0D108BD9-81ED-4DB2-BD59-A6C34878D82A}">
                    <a16:rowId xmlns:a16="http://schemas.microsoft.com/office/drawing/2014/main" val="1182192680"/>
                  </a:ext>
                </a:extLst>
              </a:tr>
              <a:tr h="299465">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39815148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Walmart Nm Corp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2F2F2"/>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bg Pl/Disposable</a:t>
                      </a:r>
                    </a:p>
                  </a:txBody>
                  <a:tcPr marL="36000" marR="36000" marT="4763" marB="0" anchor="ctr">
                    <a:solidFill>
                      <a:srgbClr val="FFBFBF"/>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Billie/System</a:t>
                      </a:r>
                    </a:p>
                  </a:txBody>
                  <a:tcPr marL="36000" marR="36000" marT="4763" marB="0" anchor="ctr">
                    <a:solidFill>
                      <a:srgbClr val="F2F2F2"/>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Bic Silky Touch/Disposable</a:t>
                      </a:r>
                    </a:p>
                  </a:txBody>
                  <a:tcPr marL="36000" marR="36000" marT="4763" marB="0" anchor="ctr">
                    <a:solidFill>
                      <a:srgbClr val="CBEAE7"/>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Pbg Pl/System</a:t>
                      </a:r>
                    </a:p>
                  </a:txBody>
                  <a:tcPr marL="36000" marR="36000" marT="4763" marB="0" anchor="ctr">
                    <a:solidFill>
                      <a:srgbClr val="CBEAE7"/>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CBEAE7"/>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2F2F2"/>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FFBFBF"/>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41099615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9476878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998723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Walmart Sc Cor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90838152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2697026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45490877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112438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4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4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 </dc:title>
  <dc:creator>Bhagya RANASINGHE</dc:creator>
  <cp:lastModifiedBy>Raphaella ASHRAF</cp:lastModifiedBy>
  <cp:revision>5</cp:revision>
  <dcterms:created xsi:type="dcterms:W3CDTF">2024-07-05T07:54:38Z</dcterms:created>
  <dcterms:modified xsi:type="dcterms:W3CDTF">2024-12-12T13:56:43Z</dcterms:modified>
</cp:coreProperties>
</file>